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1924" r:id="rId2"/>
    <p:sldId id="1928" r:id="rId3"/>
    <p:sldId id="1935" r:id="rId4"/>
    <p:sldId id="1934" r:id="rId5"/>
    <p:sldId id="1933" r:id="rId6"/>
    <p:sldId id="1930" r:id="rId7"/>
    <p:sldId id="1939" r:id="rId8"/>
    <p:sldId id="1936" r:id="rId9"/>
    <p:sldId id="1937" r:id="rId10"/>
    <p:sldId id="1938" r:id="rId11"/>
  </p:sldIdLst>
  <p:sldSz cx="9888538" cy="55626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115" userDrawn="1">
          <p15:clr>
            <a:srgbClr val="A4A3A4"/>
          </p15:clr>
        </p15:guide>
        <p15:guide id="3" orient="horz" pos="175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Pietrzykowska | FolienWerke GmbH" initials="AP|FG" lastIdx="4" clrIdx="0">
    <p:extLst>
      <p:ext uri="{19B8F6BF-5375-455C-9EA6-DF929625EA0E}">
        <p15:presenceInfo xmlns:p15="http://schemas.microsoft.com/office/powerpoint/2012/main" userId="S::anna@folienwerke.ch::fafb8bc9-6d1d-4f92-b3b3-7c0554abc130" providerId="AD"/>
      </p:ext>
    </p:extLst>
  </p:cmAuthor>
  <p:cmAuthor id="2" name="Suter Ji-Yeun (suty)" initials="SJ(" lastIdx="41" clrIdx="1">
    <p:extLst>
      <p:ext uri="{19B8F6BF-5375-455C-9EA6-DF929625EA0E}">
        <p15:presenceInfo xmlns:p15="http://schemas.microsoft.com/office/powerpoint/2012/main" userId="S::suty@zhaw.ch::48caac44-8930-48f7-a00e-9c56067c024c" providerId="AD"/>
      </p:ext>
    </p:extLst>
  </p:cmAuthor>
  <p:cmAuthor id="3" name="Romana Gamper | FolienWerke GmbH" initials="RG|FG" lastIdx="2" clrIdx="2">
    <p:extLst>
      <p:ext uri="{19B8F6BF-5375-455C-9EA6-DF929625EA0E}">
        <p15:presenceInfo xmlns:p15="http://schemas.microsoft.com/office/powerpoint/2012/main" userId="S::Romana@folienwerke.ch::07e566f3-d73a-49c0-aa20-35b0496538a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F2E6"/>
    <a:srgbClr val="F2E9E6"/>
    <a:srgbClr val="E5AE3F"/>
    <a:srgbClr val="E8B73C"/>
    <a:srgbClr val="69B3C0"/>
    <a:srgbClr val="F2CF5B"/>
    <a:srgbClr val="F6DE92"/>
    <a:srgbClr val="E89C3C"/>
    <a:srgbClr val="94B598"/>
    <a:srgbClr val="8588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9F94B8-C0A6-471E-95E1-3125A98042FD}" v="3007" dt="2024-12-31T16:27:51.4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7603" autoAdjust="0"/>
  </p:normalViewPr>
  <p:slideViewPr>
    <p:cSldViewPr snapToGrid="0" showGuides="1">
      <p:cViewPr varScale="1">
        <p:scale>
          <a:sx n="105" d="100"/>
          <a:sy n="105" d="100"/>
        </p:scale>
        <p:origin x="1530" y="102"/>
      </p:cViewPr>
      <p:guideLst>
        <p:guide pos="3115"/>
        <p:guide orient="horz" pos="1752"/>
      </p:guideLst>
    </p:cSldViewPr>
  </p:slideViewPr>
  <p:outlineViewPr>
    <p:cViewPr>
      <p:scale>
        <a:sx n="33" d="100"/>
        <a:sy n="33" d="100"/>
      </p:scale>
      <p:origin x="0" y="-615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49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2E241-464D-4AA7-AC58-001787836146}" type="datetimeFigureOut">
              <a:rPr lang="en-GB" smtClean="0"/>
              <a:t>31/1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74C23F-8FFE-4D20-A73F-BF5504DD806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620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1pPr>
    <a:lvl2pPr marL="370789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2pPr>
    <a:lvl3pPr marL="741578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3pPr>
    <a:lvl4pPr marL="1112368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4pPr>
    <a:lvl5pPr marL="1483157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5pPr>
    <a:lvl6pPr marL="1853946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6pPr>
    <a:lvl7pPr marL="2224735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7pPr>
    <a:lvl8pPr marL="2595524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8pPr>
    <a:lvl9pPr marL="2966314" algn="l" defTabSz="741578" rtl="0" eaLnBrk="1" latinLnBrk="0" hangingPunct="1">
      <a:defRPr sz="97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Research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paper</a:t>
            </a:r>
            <a:r>
              <a:rPr lang="de-CH" dirty="0"/>
              <a:t> 1: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b="1" dirty="0" err="1"/>
              <a:t>minimum</a:t>
            </a:r>
            <a:r>
              <a:rPr lang="de-CH" b="1" dirty="0"/>
              <a:t> </a:t>
            </a:r>
            <a:r>
              <a:rPr lang="de-CH" b="1" dirty="0" err="1"/>
              <a:t>number</a:t>
            </a:r>
            <a:r>
              <a:rPr lang="de-CH" b="1" dirty="0"/>
              <a:t> </a:t>
            </a:r>
            <a:r>
              <a:rPr lang="de-CH" dirty="0" err="1"/>
              <a:t>of</a:t>
            </a:r>
            <a:r>
              <a:rPr lang="de-CH" dirty="0"/>
              <a:t> redundant </a:t>
            </a:r>
            <a:r>
              <a:rPr lang="de-CH" dirty="0" err="1"/>
              <a:t>encodings</a:t>
            </a:r>
            <a:r>
              <a:rPr lang="de-CH" dirty="0"/>
              <a:t> </a:t>
            </a:r>
            <a:r>
              <a:rPr lang="de-CH" dirty="0" err="1"/>
              <a:t>required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PQCs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b="1" dirty="0" err="1"/>
              <a:t>approximate</a:t>
            </a:r>
            <a:r>
              <a:rPr lang="de-CH" dirty="0"/>
              <a:t> (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reproduce</a:t>
            </a:r>
            <a:r>
              <a:rPr lang="de-CH" dirty="0"/>
              <a:t>) a </a:t>
            </a:r>
            <a:r>
              <a:rPr lang="de-CH" b="1" dirty="0" err="1"/>
              <a:t>target</a:t>
            </a:r>
            <a:r>
              <a:rPr lang="de-CH" b="1" dirty="0"/>
              <a:t> </a:t>
            </a:r>
            <a:r>
              <a:rPr lang="de-CH" b="1" dirty="0" err="1"/>
              <a:t>function</a:t>
            </a:r>
            <a:endParaRPr lang="de-CH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0587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F7A2BB-66EE-99B5-532A-EF53871E0B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39999E7-B347-0681-BDF0-C0E1706CEA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FE79097-EF0A-C1F7-60BE-1A328121D8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37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5E593A-044D-47F3-0BDC-088373A815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064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261F97-42E2-9767-4BFB-16670C605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C86BEC5-F6A2-2BFC-B84F-D29166EC32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6ABCFC7-F0C6-3BAB-DED3-A72F8AD781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PQCs:</a:t>
            </a:r>
          </a:p>
          <a:p>
            <a:r>
              <a:rPr lang="de-CH" dirty="0"/>
              <a:t>Input Data -&gt; Encoding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quantum</a:t>
            </a:r>
            <a:r>
              <a:rPr lang="de-CH" dirty="0"/>
              <a:t> </a:t>
            </a:r>
            <a:r>
              <a:rPr lang="de-CH" dirty="0" err="1"/>
              <a:t>state</a:t>
            </a:r>
            <a:r>
              <a:rPr lang="de-CH" dirty="0"/>
              <a:t> -&gt; Quantum </a:t>
            </a:r>
            <a:r>
              <a:rPr lang="de-CH" dirty="0" err="1"/>
              <a:t>circuit</a:t>
            </a:r>
            <a:r>
              <a:rPr lang="de-CH" dirty="0"/>
              <a:t> </a:t>
            </a:r>
            <a:r>
              <a:rPr lang="de-CH" dirty="0" err="1"/>
              <a:t>processing</a:t>
            </a:r>
            <a:r>
              <a:rPr lang="de-CH" dirty="0"/>
              <a:t> (</a:t>
            </a:r>
            <a:r>
              <a:rPr lang="de-CH" dirty="0" err="1"/>
              <a:t>parameterizied</a:t>
            </a:r>
            <a:r>
              <a:rPr lang="de-CH" dirty="0"/>
              <a:t>) -&gt; </a:t>
            </a:r>
            <a:r>
              <a:rPr lang="de-CH" dirty="0" err="1"/>
              <a:t>Approximate</a:t>
            </a:r>
            <a:r>
              <a:rPr lang="de-CH" dirty="0"/>
              <a:t> </a:t>
            </a:r>
            <a:r>
              <a:rPr lang="de-CH" dirty="0" err="1"/>
              <a:t>targe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</a:t>
            </a:r>
            <a:r>
              <a:rPr lang="de-CH" dirty="0" err="1"/>
              <a:t>f_target</a:t>
            </a:r>
            <a:endParaRPr lang="de-CH" dirty="0"/>
          </a:p>
          <a:p>
            <a:endParaRPr lang="de-CH" dirty="0"/>
          </a:p>
          <a:p>
            <a:r>
              <a:rPr lang="de-CH" dirty="0"/>
              <a:t>Paper: Input </a:t>
            </a:r>
            <a:r>
              <a:rPr lang="de-CH" dirty="0" err="1"/>
              <a:t>Redundanc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Parameterized</a:t>
            </a:r>
            <a:r>
              <a:rPr lang="de-CH" dirty="0"/>
              <a:t> Quantum </a:t>
            </a:r>
            <a:r>
              <a:rPr lang="de-CH" dirty="0" err="1"/>
              <a:t>Circuit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Decision</a:t>
            </a:r>
            <a:r>
              <a:rPr lang="de-CH" dirty="0"/>
              <a:t> </a:t>
            </a:r>
            <a:r>
              <a:rPr lang="de-CH" dirty="0" err="1"/>
              <a:t>Considerations</a:t>
            </a:r>
            <a:r>
              <a:rPr lang="de-CH" dirty="0"/>
              <a:t>: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dirty="0" err="1"/>
              <a:t>Existing</a:t>
            </a:r>
            <a:r>
              <a:rPr lang="de-CH" dirty="0"/>
              <a:t>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redundancy</a:t>
            </a:r>
            <a:endParaRPr lang="de-CH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dirty="0"/>
              <a:t>Fourier-rank</a:t>
            </a:r>
          </a:p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B77294-C398-A29A-90B6-C47BDD6191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0827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FEE8D-FFA8-79B3-CFE9-5AFC56A92A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213A06D-717F-06DC-54E2-57CC606E37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9D08B32-6098-A8C7-0CB5-FF9CD3EF4F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More </a:t>
            </a:r>
            <a:r>
              <a:rPr lang="de-CH" dirty="0" err="1"/>
              <a:t>notes</a:t>
            </a:r>
            <a:r>
              <a:rPr lang="de-CH" dirty="0"/>
              <a:t> on </a:t>
            </a:r>
            <a:r>
              <a:rPr lang="de-CH" dirty="0" err="1"/>
              <a:t>nonlinearity</a:t>
            </a:r>
            <a:r>
              <a:rPr lang="de-CH" dirty="0"/>
              <a:t> </a:t>
            </a:r>
            <a:r>
              <a:rPr lang="de-CH" dirty="0" err="1"/>
              <a:t>see</a:t>
            </a:r>
            <a:r>
              <a:rPr lang="de-CH" dirty="0"/>
              <a:t> </a:t>
            </a:r>
            <a:r>
              <a:rPr lang="de-CH" dirty="0" err="1"/>
              <a:t>notes</a:t>
            </a:r>
            <a:r>
              <a:rPr lang="de-CH" dirty="0"/>
              <a:t> </a:t>
            </a:r>
            <a:r>
              <a:rPr lang="de-CH" dirty="0" err="1"/>
              <a:t>folder</a:t>
            </a: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A8106E-F412-6E20-AE0C-9E6984564F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091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FF848E-C116-A9AE-97C5-3897F39DA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1026E77-7D75-D5C3-7D41-8C8795CBB2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D984377-2C49-3574-9A84-3C9A82E446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72161" lvl="0" indent="-285750">
              <a:buSzPts val="1000"/>
              <a:buFont typeface="Symbol" panose="05050102010706020507" pitchFamily="18" charset="2"/>
              <a:buChar char=""/>
              <a:tabLst>
                <a:tab pos="914400" algn="l"/>
              </a:tabLst>
            </a:pPr>
            <a:r>
              <a:rPr lang="en-GB" sz="11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xpected outcomes:</a:t>
            </a:r>
            <a:endParaRPr lang="de-CH" sz="11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772211" lvl="1" indent="-228600">
              <a:buSzPts val="1000"/>
              <a:buFont typeface="Courier New" panose="02070309020205020404" pitchFamily="49" charset="0"/>
              <a:buChar char="o"/>
              <a:tabLst>
                <a:tab pos="1371600" algn="l"/>
              </a:tabLst>
            </a:pPr>
            <a:r>
              <a:rPr lang="en-GB" sz="11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meseries: Using an arcsine activation r&gt;1 should give better results since they capture more frequencies</a:t>
            </a:r>
            <a:endParaRPr lang="de-CH" sz="1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72211" lvl="1" indent="-228600">
              <a:buSzPts val="1000"/>
              <a:buFont typeface="Courier New" panose="02070309020205020404" pitchFamily="49" charset="0"/>
              <a:buChar char="o"/>
              <a:tabLst>
                <a:tab pos="1371600" algn="l"/>
              </a:tabLst>
            </a:pPr>
            <a:r>
              <a:rPr lang="en-GB" sz="11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ages: I expect that linear function will work best for image classification</a:t>
            </a:r>
            <a:endParaRPr lang="de-CH" sz="1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72211" lvl="1" indent="-228600">
              <a:buSzPts val="1000"/>
              <a:buFont typeface="Courier New" panose="02070309020205020404" pitchFamily="49" charset="0"/>
              <a:buChar char="o"/>
              <a:tabLst>
                <a:tab pos="1371600" algn="l"/>
              </a:tabLst>
            </a:pPr>
            <a:r>
              <a:rPr lang="en-GB" sz="11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bular: Linear encoding might be sufficient for simple datasets where feature ordering does not impact the model</a:t>
            </a:r>
            <a:endParaRPr lang="de-CH" sz="1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9F6757-599E-DB0B-B260-D66C34F8F8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012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19ACD-67F2-2F99-2F4E-69F16D7DE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91C142A-CF14-FD17-1119-1D7D93397C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>
                <a:extLst>
                  <a:ext uri="{FF2B5EF4-FFF2-40B4-BE49-F238E27FC236}">
                    <a16:creationId xmlns:a16="http://schemas.microsoft.com/office/drawing/2014/main" id="{33848E43-CEF0-5364-A5B4-E4698B89E32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171450" marR="0" lvl="0" indent="-171450" algn="l" defTabSz="7415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dirty="0"/>
                  <a:t>Goal: Write </a:t>
                </a:r>
                <a14:m>
                  <m:oMath xmlns:m="http://schemas.openxmlformats.org/officeDocument/2006/math">
                    <m:r>
                      <a:rPr lang="de-CH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</m:oMath>
                </a14:m>
                <a:r>
                  <a:rPr lang="en-US" dirty="0"/>
                  <a:t> as a partial Fourier series </a:t>
                </a:r>
                <a14:m>
                  <m:oMath xmlns:m="http://schemas.openxmlformats.org/officeDocument/2006/math">
                    <m:r>
                      <a:rPr lang="de-CH" i="1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CH" b="0" i="0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de-CH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CH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m:rPr>
                            <m:sty m:val="p"/>
                          </m:rPr>
                          <a:rPr lang="el-GR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Ω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de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  <m:sSup>
                          <m:sSupPr>
                            <m:ctrlPr>
                              <a:rPr lang="de-CH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𝑖𝑛𝑥</m:t>
                            </m:r>
                          </m:sup>
                        </m:sSup>
                      </m:e>
                    </m:nary>
                  </m:oMath>
                </a14:m>
                <a:r>
                  <a:rPr lang="en-US" dirty="0"/>
                  <a:t> series</a:t>
                </a:r>
                <a:endParaRPr lang="de-CH" dirty="0"/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CH" dirty="0"/>
                  <a:t>Image </a:t>
                </a:r>
                <a:r>
                  <a:rPr lang="de-CH" dirty="0" err="1"/>
                  <a:t>from</a:t>
                </a:r>
                <a:r>
                  <a:rPr lang="de-CH" dirty="0"/>
                  <a:t>: Quantum </a:t>
                </a:r>
                <a:r>
                  <a:rPr lang="de-CH" dirty="0" err="1"/>
                  <a:t>computing</a:t>
                </a:r>
                <a:r>
                  <a:rPr lang="de-CH" dirty="0"/>
                  <a:t> </a:t>
                </a:r>
                <a:r>
                  <a:rPr lang="de-CH" dirty="0" err="1"/>
                  <a:t>models</a:t>
                </a:r>
                <a:r>
                  <a:rPr lang="de-CH" dirty="0"/>
                  <a:t> </a:t>
                </a:r>
                <a:r>
                  <a:rPr lang="de-CH" dirty="0" err="1"/>
                  <a:t>for</a:t>
                </a:r>
                <a:r>
                  <a:rPr lang="de-CH" dirty="0"/>
                  <a:t> </a:t>
                </a:r>
                <a:r>
                  <a:rPr lang="de-CH" dirty="0" err="1"/>
                  <a:t>artiﬁcial</a:t>
                </a:r>
                <a:r>
                  <a:rPr lang="de-CH" dirty="0"/>
                  <a:t> </a:t>
                </a:r>
                <a:r>
                  <a:rPr lang="de-CH" dirty="0" err="1"/>
                  <a:t>neural</a:t>
                </a:r>
                <a:r>
                  <a:rPr lang="de-CH" dirty="0"/>
                  <a:t> </a:t>
                </a:r>
                <a:r>
                  <a:rPr lang="de-CH" dirty="0" err="1"/>
                  <a:t>networks</a:t>
                </a:r>
                <a:endParaRPr lang="de-CH" dirty="0"/>
              </a:p>
            </p:txBody>
          </p:sp>
        </mc:Choice>
        <mc:Fallback xmlns="">
          <p:sp>
            <p:nvSpPr>
              <p:cNvPr id="3" name="Notizenplatzhalter 2">
                <a:extLst>
                  <a:ext uri="{FF2B5EF4-FFF2-40B4-BE49-F238E27FC236}">
                    <a16:creationId xmlns:a16="http://schemas.microsoft.com/office/drawing/2014/main" id="{33848E43-CEF0-5364-A5B4-E4698B89E328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285750" marR="0" lvl="0" indent="-285750" algn="l" defTabSz="7415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US" dirty="0"/>
                  <a:t>Goal: Write </a:t>
                </a:r>
                <a:r>
                  <a:rPr lang="de-CH" b="0" i="0">
                    <a:latin typeface="Cambria Math" panose="02040503050406030204" pitchFamily="18" charset="0"/>
                  </a:rPr>
                  <a:t>𝑓(𝑥)</a:t>
                </a:r>
                <a:r>
                  <a:rPr lang="en-US" dirty="0"/>
                  <a:t> as a partial Fourier series </a:t>
                </a:r>
                <a:r>
                  <a:rPr lang="de-CH" i="0">
                    <a:latin typeface="Cambria Math" panose="02040503050406030204" pitchFamily="18" charset="0"/>
                  </a:rPr>
                  <a:t>𝑓(𝑥)</a:t>
                </a:r>
                <a:r>
                  <a:rPr lang="de-CH" b="0" i="0">
                    <a:latin typeface="Cambria Math" panose="02040503050406030204" pitchFamily="18" charset="0"/>
                  </a:rPr>
                  <a:t>=∑</a:t>
                </a:r>
                <a:r>
                  <a:rPr lang="el-GR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_</a:t>
                </a:r>
                <a:r>
                  <a:rPr lang="de-CH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(</a:t>
                </a:r>
                <a:r>
                  <a:rPr lang="de-CH" b="0" i="0">
                    <a:latin typeface="Cambria Math" panose="02040503050406030204" pitchFamily="18" charset="0"/>
                  </a:rPr>
                  <a:t>𝑛</a:t>
                </a:r>
                <a:r>
                  <a:rPr lang="de-CH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∈</a:t>
                </a:r>
                <a:r>
                  <a:rPr lang="el-GR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Ω</a:t>
                </a:r>
                <a:r>
                  <a:rPr lang="de-CH" b="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)▒〖</a:t>
                </a:r>
                <a:r>
                  <a:rPr lang="de-CH" b="0" i="0">
                    <a:latin typeface="Cambria Math" panose="02040503050406030204" pitchFamily="18" charset="0"/>
                  </a:rPr>
                  <a:t>𝑐_𝑛 𝑒^𝑖𝑛𝑥 〗</a:t>
                </a:r>
                <a:r>
                  <a:rPr lang="en-US" dirty="0"/>
                  <a:t> seri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CH" dirty="0"/>
              </a:p>
              <a:p>
                <a:pPr marL="0" indent="0">
                  <a:buFont typeface="Arial" panose="020B0604020202020204" pitchFamily="34" charset="0"/>
                  <a:buNone/>
                </a:pPr>
                <a:r>
                  <a:rPr lang="de-CH" dirty="0"/>
                  <a:t>Image </a:t>
                </a:r>
                <a:r>
                  <a:rPr lang="de-CH" dirty="0" err="1"/>
                  <a:t>from</a:t>
                </a:r>
                <a:r>
                  <a:rPr lang="de-CH" dirty="0"/>
                  <a:t>: Quantum </a:t>
                </a:r>
                <a:r>
                  <a:rPr lang="de-CH" dirty="0" err="1"/>
                  <a:t>computing</a:t>
                </a:r>
                <a:r>
                  <a:rPr lang="de-CH" dirty="0"/>
                  <a:t> </a:t>
                </a:r>
                <a:r>
                  <a:rPr lang="de-CH" dirty="0" err="1"/>
                  <a:t>models</a:t>
                </a:r>
                <a:r>
                  <a:rPr lang="de-CH" dirty="0"/>
                  <a:t> </a:t>
                </a:r>
                <a:r>
                  <a:rPr lang="de-CH" dirty="0" err="1"/>
                  <a:t>for</a:t>
                </a:r>
                <a:r>
                  <a:rPr lang="de-CH" dirty="0"/>
                  <a:t> </a:t>
                </a:r>
                <a:r>
                  <a:rPr lang="de-CH" dirty="0" err="1"/>
                  <a:t>artiﬁcial</a:t>
                </a:r>
                <a:r>
                  <a:rPr lang="de-CH" dirty="0"/>
                  <a:t> </a:t>
                </a:r>
                <a:r>
                  <a:rPr lang="de-CH" dirty="0" err="1"/>
                  <a:t>neural</a:t>
                </a:r>
                <a:r>
                  <a:rPr lang="de-CH" dirty="0"/>
                  <a:t> </a:t>
                </a:r>
                <a:r>
                  <a:rPr lang="de-CH" dirty="0" err="1"/>
                  <a:t>networks</a:t>
                </a: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Goal: 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dirty="0" err="1"/>
                  <a:t>Get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b="1" dirty="0" err="1"/>
                  <a:t>minimum</a:t>
                </a:r>
                <a:r>
                  <a:rPr lang="de-CH" b="1" dirty="0"/>
                  <a:t> </a:t>
                </a:r>
                <a:r>
                  <a:rPr lang="de-CH" b="1" dirty="0" err="1"/>
                  <a:t>number</a:t>
                </a:r>
                <a:r>
                  <a:rPr lang="de-CH" b="1" dirty="0"/>
                  <a:t> </a:t>
                </a:r>
                <a:r>
                  <a:rPr lang="de-CH" dirty="0" err="1"/>
                  <a:t>of</a:t>
                </a:r>
                <a:r>
                  <a:rPr lang="de-CH" dirty="0"/>
                  <a:t> redundant </a:t>
                </a:r>
                <a:r>
                  <a:rPr lang="de-CH" dirty="0" err="1"/>
                  <a:t>encodings</a:t>
                </a:r>
                <a:r>
                  <a:rPr lang="de-CH" dirty="0"/>
                  <a:t> </a:t>
                </a:r>
                <a:r>
                  <a:rPr lang="de-CH" dirty="0" err="1"/>
                  <a:t>required</a:t>
                </a:r>
                <a:r>
                  <a:rPr lang="de-CH" dirty="0"/>
                  <a:t> </a:t>
                </a:r>
                <a:r>
                  <a:rPr lang="de-CH" dirty="0" err="1"/>
                  <a:t>for</a:t>
                </a:r>
                <a:r>
                  <a:rPr lang="de-CH" dirty="0"/>
                  <a:t> PQCs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b="1" dirty="0" err="1"/>
                  <a:t>approximate</a:t>
                </a:r>
                <a:r>
                  <a:rPr lang="de-CH" dirty="0"/>
                  <a:t> (</a:t>
                </a:r>
                <a:r>
                  <a:rPr lang="de-CH" dirty="0" err="1"/>
                  <a:t>or</a:t>
                </a:r>
                <a:r>
                  <a:rPr lang="de-CH" dirty="0"/>
                  <a:t> </a:t>
                </a:r>
                <a:r>
                  <a:rPr lang="de-CH" dirty="0" err="1"/>
                  <a:t>reproduce</a:t>
                </a:r>
                <a:r>
                  <a:rPr lang="de-CH" dirty="0"/>
                  <a:t>) a </a:t>
                </a:r>
                <a:r>
                  <a:rPr lang="de-CH" b="1" dirty="0" err="1"/>
                  <a:t>target</a:t>
                </a:r>
                <a:r>
                  <a:rPr lang="de-CH" b="1" dirty="0"/>
                  <a:t> </a:t>
                </a:r>
                <a:r>
                  <a:rPr lang="de-CH" b="1" dirty="0" err="1"/>
                  <a:t>function</a:t>
                </a:r>
                <a:endParaRPr lang="de-CH" b="1" dirty="0"/>
              </a:p>
              <a:p>
                <a:endParaRPr lang="de-CH" dirty="0"/>
              </a:p>
              <a:p>
                <a:r>
                  <a:rPr lang="de-CH" dirty="0"/>
                  <a:t>https://github.com/XanaduAI/expressive_power_of_quantum_models/blob/master/tutorial_expressivity_fourier_series.ipynb</a:t>
                </a:r>
              </a:p>
              <a:p>
                <a:r>
                  <a:rPr lang="de-CH" dirty="0"/>
                  <a:t>Data Encoding: </a:t>
                </a:r>
              </a:p>
              <a:p>
                <a:r>
                  <a:rPr lang="de-CH" dirty="0" err="1"/>
                  <a:t>We</a:t>
                </a:r>
                <a:r>
                  <a:rPr lang="de-CH" dirty="0"/>
                  <a:t> </a:t>
                </a:r>
                <a:r>
                  <a:rPr lang="de-CH" dirty="0" err="1"/>
                  <a:t>can</a:t>
                </a:r>
                <a:r>
                  <a:rPr lang="de-CH" dirty="0"/>
                  <a:t> «</a:t>
                </a:r>
                <a:r>
                  <a:rPr lang="de-CH" dirty="0" err="1"/>
                  <a:t>copy</a:t>
                </a:r>
                <a:r>
                  <a:rPr lang="de-CH" dirty="0"/>
                  <a:t>» </a:t>
                </a:r>
                <a:r>
                  <a:rPr lang="de-CH" dirty="0" err="1"/>
                  <a:t>values</a:t>
                </a:r>
                <a:r>
                  <a:rPr lang="de-CH" dirty="0"/>
                  <a:t>:</a:t>
                </a:r>
              </a:p>
              <a:p>
                <a:endParaRPr lang="de-CH" dirty="0"/>
              </a:p>
              <a:p>
                <a:endParaRPr lang="de-CH" dirty="0"/>
              </a:p>
              <a:p>
                <a:r>
                  <a:rPr lang="de-CH" dirty="0"/>
                  <a:t>Rep. r=5</a:t>
                </a:r>
              </a:p>
              <a:p>
                <a:endParaRPr lang="de-CH" dirty="0"/>
              </a:p>
              <a:p>
                <a:r>
                  <a:rPr lang="de-CH" dirty="0"/>
                  <a:t>-x-x-x-x-x-</a:t>
                </a:r>
              </a:p>
              <a:p>
                <a:endParaRPr lang="de-CH" dirty="0"/>
              </a:p>
              <a:p>
                <a:r>
                  <a:rPr lang="de-CH" dirty="0" err="1"/>
                  <a:t>Or</a:t>
                </a:r>
                <a:endParaRPr lang="de-CH" dirty="0"/>
              </a:p>
              <a:p>
                <a:endParaRPr lang="de-CH" dirty="0"/>
              </a:p>
              <a:p>
                <a:r>
                  <a:rPr lang="de-CH" dirty="0"/>
                  <a:t>-x-</a:t>
                </a:r>
              </a:p>
              <a:p>
                <a:r>
                  <a:rPr lang="de-CH" dirty="0"/>
                  <a:t>-x-</a:t>
                </a:r>
              </a:p>
              <a:p>
                <a:r>
                  <a:rPr lang="de-CH" dirty="0"/>
                  <a:t>-x-</a:t>
                </a:r>
              </a:p>
              <a:p>
                <a:r>
                  <a:rPr lang="de-CH" dirty="0"/>
                  <a:t>-x-</a:t>
                </a:r>
              </a:p>
              <a:p>
                <a:r>
                  <a:rPr lang="de-CH" dirty="0"/>
                  <a:t>-x-</a:t>
                </a:r>
              </a:p>
              <a:p>
                <a:endParaRPr lang="de-CH" dirty="0"/>
              </a:p>
              <a:p>
                <a:r>
                  <a:rPr lang="de-CH" dirty="0"/>
                  <a:t>1 </a:t>
                </a:r>
                <a:r>
                  <a:rPr lang="de-CH" dirty="0" err="1"/>
                  <a:t>qubit</a:t>
                </a:r>
                <a:r>
                  <a:rPr lang="de-CH" dirty="0"/>
                  <a:t> </a:t>
                </a:r>
                <a:r>
                  <a:rPr lang="de-CH" dirty="0" err="1"/>
                  <a:t>with</a:t>
                </a:r>
                <a:r>
                  <a:rPr lang="de-CH" dirty="0"/>
                  <a:t> 5 </a:t>
                </a:r>
                <a:r>
                  <a:rPr lang="de-CH" dirty="0" err="1"/>
                  <a:t>repetitions</a:t>
                </a:r>
                <a:r>
                  <a:rPr lang="de-CH" dirty="0"/>
                  <a:t> </a:t>
                </a:r>
                <a:r>
                  <a:rPr lang="de-CH" dirty="0" err="1"/>
                  <a:t>or</a:t>
                </a:r>
                <a:r>
                  <a:rPr lang="de-CH" dirty="0"/>
                  <a:t> 5 </a:t>
                </a:r>
                <a:r>
                  <a:rPr lang="de-CH" dirty="0" err="1"/>
                  <a:t>qubits</a:t>
                </a:r>
                <a:r>
                  <a:rPr lang="de-CH" dirty="0"/>
                  <a:t> 1 </a:t>
                </a:r>
                <a:r>
                  <a:rPr lang="de-CH" dirty="0" err="1"/>
                  <a:t>repetions</a:t>
                </a:r>
                <a:endParaRPr lang="de-CH" dirty="0"/>
              </a:p>
              <a:p>
                <a:endParaRPr lang="de-CH" dirty="0"/>
              </a:p>
              <a:p>
                <a:endParaRPr lang="de-CH" dirty="0"/>
              </a:p>
              <a:p>
                <a:r>
                  <a:rPr lang="de-CH" dirty="0" err="1"/>
                  <a:t>If</a:t>
                </a:r>
                <a:r>
                  <a:rPr lang="de-CH" dirty="0"/>
                  <a:t> r=1: </a:t>
                </a:r>
                <a:r>
                  <a:rPr lang="de-CH" dirty="0" err="1"/>
                  <a:t>Singlequbit</a:t>
                </a:r>
                <a:r>
                  <a:rPr lang="de-CH" dirty="0"/>
                  <a:t> </a:t>
                </a:r>
                <a:r>
                  <a:rPr lang="de-CH" dirty="0" err="1"/>
                  <a:t>which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output</a:t>
                </a:r>
                <a:r>
                  <a:rPr lang="de-CH" dirty="0"/>
                  <a:t> </a:t>
                </a:r>
                <a:r>
                  <a:rPr lang="de-CH" dirty="0" err="1"/>
                  <a:t>is</a:t>
                </a:r>
                <a:r>
                  <a:rPr lang="de-CH" dirty="0"/>
                  <a:t> a </a:t>
                </a:r>
                <a:r>
                  <a:rPr lang="de-CH" dirty="0" err="1"/>
                  <a:t>single</a:t>
                </a:r>
                <a:r>
                  <a:rPr lang="de-CH" dirty="0"/>
                  <a:t> </a:t>
                </a:r>
                <a:r>
                  <a:rPr lang="de-CH" dirty="0" err="1"/>
                  <a:t>frequency</a:t>
                </a:r>
                <a:r>
                  <a:rPr lang="de-CH" dirty="0"/>
                  <a:t> (sine)</a:t>
                </a:r>
              </a:p>
              <a:p>
                <a:endParaRPr lang="de-CH" dirty="0"/>
              </a:p>
              <a:p>
                <a:endParaRPr lang="de-CH" dirty="0"/>
              </a:p>
              <a:p>
                <a:endParaRPr lang="de-CH" dirty="0"/>
              </a:p>
              <a:p>
                <a:r>
                  <a:rPr lang="de-CH" dirty="0"/>
                  <a:t>Data </a:t>
                </a:r>
                <a:r>
                  <a:rPr lang="de-CH" dirty="0" err="1"/>
                  <a:t>repetition</a:t>
                </a:r>
                <a:r>
                  <a:rPr lang="de-CH" dirty="0"/>
                  <a:t>: Making </a:t>
                </a:r>
                <a:r>
                  <a:rPr lang="de-CH" dirty="0" err="1"/>
                  <a:t>the</a:t>
                </a:r>
                <a:r>
                  <a:rPr lang="de-CH" dirty="0"/>
                  <a:t> same </a:t>
                </a:r>
                <a:r>
                  <a:rPr lang="de-CH" dirty="0" err="1"/>
                  <a:t>operation</a:t>
                </a:r>
                <a:r>
                  <a:rPr lang="de-CH" dirty="0"/>
                  <a:t> multiple </a:t>
                </a:r>
                <a:r>
                  <a:rPr lang="de-CH" dirty="0" err="1"/>
                  <a:t>times</a:t>
                </a:r>
                <a:r>
                  <a:rPr lang="de-CH" dirty="0"/>
                  <a:t> on same </a:t>
                </a:r>
                <a:r>
                  <a:rPr lang="de-CH" dirty="0" err="1"/>
                  <a:t>input</a:t>
                </a:r>
                <a:endParaRPr lang="de-CH" dirty="0"/>
              </a:p>
              <a:p>
                <a:r>
                  <a:rPr lang="de-CH" dirty="0" err="1"/>
                  <a:t>Copying</a:t>
                </a:r>
                <a:r>
                  <a:rPr lang="de-CH" dirty="0"/>
                  <a:t>: Add </a:t>
                </a:r>
                <a:r>
                  <a:rPr lang="de-CH" dirty="0" err="1"/>
                  <a:t>ancillas</a:t>
                </a:r>
                <a:r>
                  <a:rPr lang="de-CH" dirty="0"/>
                  <a:t> in </a:t>
                </a:r>
                <a:r>
                  <a:rPr lang="de-CH" dirty="0" err="1"/>
                  <a:t>data</a:t>
                </a:r>
                <a:r>
                  <a:rPr lang="de-CH" dirty="0"/>
                  <a:t> </a:t>
                </a:r>
                <a:r>
                  <a:rPr lang="de-CH" dirty="0" err="1"/>
                  <a:t>encoding</a:t>
                </a:r>
                <a:r>
                  <a:rPr lang="de-CH" dirty="0"/>
                  <a:t>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get</a:t>
                </a:r>
                <a:r>
                  <a:rPr lang="de-CH" dirty="0"/>
                  <a:t> «</a:t>
                </a:r>
                <a:r>
                  <a:rPr lang="de-CH" dirty="0" err="1"/>
                  <a:t>copied</a:t>
                </a:r>
                <a:r>
                  <a:rPr lang="de-CH" dirty="0"/>
                  <a:t>» </a:t>
                </a:r>
                <a:r>
                  <a:rPr lang="de-CH" dirty="0" err="1"/>
                  <a:t>qubits</a:t>
                </a:r>
                <a:r>
                  <a:rPr lang="de-CH" dirty="0"/>
                  <a:t>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use</a:t>
                </a:r>
                <a:r>
                  <a:rPr lang="de-CH" dirty="0"/>
                  <a:t> </a:t>
                </a:r>
                <a:r>
                  <a:rPr lang="de-CH" dirty="0" err="1"/>
                  <a:t>elsewhere</a:t>
                </a:r>
                <a:r>
                  <a:rPr lang="de-CH" dirty="0"/>
                  <a:t> in </a:t>
                </a:r>
                <a:r>
                  <a:rPr lang="de-CH" dirty="0" err="1"/>
                  <a:t>qnn</a:t>
                </a:r>
                <a:endParaRPr lang="de-CH" dirty="0"/>
              </a:p>
            </p:txBody>
          </p:sp>
        </mc:Fallback>
      </mc:AlternateContent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04BFBF6-F39B-538E-F567-0C1205D372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2927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1F99-7A9B-34AB-811F-F2477EE3D0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E047565-780B-F662-C492-CE3D9F499E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51431CB-81B9-3DDF-9581-9F13B0F406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Tried</a:t>
            </a:r>
            <a:r>
              <a:rPr lang="de-CH" dirty="0"/>
              <a:t> out a </a:t>
            </a:r>
            <a:r>
              <a:rPr lang="de-CH" dirty="0" err="1"/>
              <a:t>lo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ifferent </a:t>
            </a:r>
            <a:r>
              <a:rPr lang="de-CH" dirty="0" err="1"/>
              <a:t>types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models</a:t>
            </a:r>
            <a:r>
              <a:rPr lang="de-CH" dirty="0"/>
              <a:t>: Here </a:t>
            </a:r>
            <a:r>
              <a:rPr lang="de-CH" dirty="0" err="1"/>
              <a:t>we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best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serial</a:t>
            </a:r>
            <a:r>
              <a:rPr lang="de-CH" dirty="0"/>
              <a:t> time QNN </a:t>
            </a:r>
          </a:p>
          <a:p>
            <a:pPr marL="0" marR="0" lvl="0" indent="0" algn="l" defTabSz="741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CH" dirty="0">
                <a:solidFill>
                  <a:srgbClr val="FF0000"/>
                </a:solidFill>
              </a:rPr>
            </a:b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2CD3B5-3E45-CA51-AC91-F6946D6C06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288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FA610-D266-BEC3-1A8D-3CB1D84BD3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FBEEEDE-C055-B582-225C-0172349B23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AD88120-77CD-ECE7-D791-858E189565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30E695-015C-7826-CCE5-96E30B68D1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7954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6B8B3-7075-1B57-0B9C-BA47D75F0E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F6F62A3-BA0A-D6D6-A452-464DC3B619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07DBFB3-A25A-95DB-2F9F-768F4390D7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23C9E1-271C-29B9-CFBB-3E1143E338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230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78F4BF-126D-92DE-0EB9-E444685F6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51CDFA7-B3F6-94BE-1397-63E0DAAE82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1A8C9CE-CE4F-F99B-FF25-BFE6AE33EB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You can find the code and examples in </a:t>
            </a:r>
            <a:r>
              <a:rPr lang="en-US" b="0" i="0" dirty="0" err="1">
                <a:solidFill>
                  <a:srgbClr val="FF0000"/>
                </a:solidFill>
                <a:effectLst/>
                <a:latin typeface="-apple-system"/>
              </a:rPr>
              <a:t>optimal_data_encoding.ipynb</a:t>
            </a:r>
            <a:r>
              <a:rPr lang="en-US" b="0" i="0" dirty="0">
                <a:solidFill>
                  <a:srgbClr val="FF0000"/>
                </a:solidFill>
                <a:effectLst/>
                <a:latin typeface="-apple-system"/>
              </a:rPr>
              <a:t>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EE2021-23A6-F91B-2954-1F47F8021D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74C23F-8FFE-4D20-A73F-BF5504DD806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51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23825" y="117475"/>
            <a:ext cx="9645650" cy="532765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388" y="4756360"/>
            <a:ext cx="1500335" cy="30003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fld id="{7A5BC387-6706-48F5-9328-FEAA1E657F6B}" type="datetime1">
              <a:rPr lang="de-CH" smtClean="0"/>
              <a:pPr/>
              <a:t>31.12.2024</a:t>
            </a:fld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772D1DB-A8C1-4B40-BE72-228B621C1D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389" y="1690688"/>
            <a:ext cx="3392242" cy="1954212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bg1"/>
                </a:solidFill>
              </a:defRPr>
            </a:lvl2pPr>
            <a:lvl3pPr>
              <a:defRPr sz="3200" b="1">
                <a:solidFill>
                  <a:schemeClr val="bg1"/>
                </a:solidFill>
              </a:defRPr>
            </a:lvl3pPr>
            <a:lvl4pPr>
              <a:defRPr sz="3200" b="1">
                <a:solidFill>
                  <a:schemeClr val="bg1"/>
                </a:solidFill>
              </a:defRPr>
            </a:lvl4pPr>
            <a:lvl5pPr>
              <a:defRPr sz="3200" b="1">
                <a:solidFill>
                  <a:schemeClr val="bg1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D6E9D6-B4D0-4B9B-855B-153B9A5987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388" y="4041775"/>
            <a:ext cx="3391200" cy="300038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</a:defRPr>
            </a:lvl1pPr>
            <a:lvl2pPr>
              <a:defRPr sz="1200">
                <a:solidFill>
                  <a:srgbClr val="38D430"/>
                </a:solidFill>
              </a:defRPr>
            </a:lvl2pPr>
            <a:lvl3pPr>
              <a:defRPr sz="1200">
                <a:solidFill>
                  <a:srgbClr val="38D430"/>
                </a:solidFill>
              </a:defRPr>
            </a:lvl3pPr>
            <a:lvl4pPr>
              <a:defRPr sz="1200">
                <a:solidFill>
                  <a:srgbClr val="38D430"/>
                </a:solidFill>
              </a:defRPr>
            </a:lvl4pPr>
            <a:lvl5pPr>
              <a:defRPr sz="1200">
                <a:solidFill>
                  <a:srgbClr val="38D430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91517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88C545-1B39-44C6-8F70-4D4C89F23F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9837" y="5155706"/>
            <a:ext cx="2224921" cy="296157"/>
          </a:xfrm>
          <a:prstGeom prst="rect">
            <a:avLst/>
          </a:prstGeom>
        </p:spPr>
        <p:txBody>
          <a:bodyPr/>
          <a:lstStyle/>
          <a:p>
            <a:fld id="{9BCA0123-B319-446C-91A4-3EE4BD572A81}" type="datetime1">
              <a:rPr lang="de-CH" smtClean="0"/>
              <a:t>31.12.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ED31E-824E-48B7-B7A3-9436EC579A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27592-0A15-401E-86B2-3A1138F5A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8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425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087" y="1939895"/>
            <a:ext cx="8516451" cy="30703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7BA917-0DA0-4C4C-B860-4623E538D9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98" y="1479286"/>
            <a:ext cx="8516402" cy="298714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2558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569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546F0E-7F27-4FCD-85BC-5F2CEEBA6E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1098" y="1479286"/>
            <a:ext cx="8516402" cy="298714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476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4FCE7C-8A81-4D44-94E4-964CD1AFD4A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78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185127"/>
            <a:ext cx="7771879" cy="608807"/>
          </a:xfrm>
          <a:solidFill>
            <a:schemeClr val="bg1">
              <a:alpha val="60000"/>
            </a:schemeClr>
          </a:solidFill>
        </p:spPr>
        <p:txBody>
          <a:bodyPr lIns="687600" tIns="14400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2587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8" y="184145"/>
            <a:ext cx="7807745" cy="936452"/>
          </a:xfrm>
          <a:solidFill>
            <a:schemeClr val="bg1">
              <a:alpha val="60000"/>
            </a:schemeClr>
          </a:solidFill>
        </p:spPr>
        <p:txBody>
          <a:bodyPr lIns="684000" tIns="14400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419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C8AD8D9-ED4F-435F-8946-A61EACA808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888538" cy="5562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D4900D1-F179-476E-A471-820DF781C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18522" y="270284"/>
            <a:ext cx="1670400" cy="770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B99F381-8EB1-4FCF-8C17-82A0EED09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8" y="1476375"/>
            <a:ext cx="4940711" cy="1276349"/>
          </a:xfrm>
          <a:solidFill>
            <a:schemeClr val="bg1">
              <a:alpha val="60000"/>
            </a:schemeClr>
          </a:solidFill>
        </p:spPr>
        <p:txBody>
          <a:bodyPr lIns="684000" tIns="14400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6E11E1E-B476-42E9-9CF7-B1524813BD0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88087" y="5155707"/>
            <a:ext cx="186690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70A6476-05E1-4FAC-A9DA-8BC1CD3AB3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09528" y="5155707"/>
            <a:ext cx="693421" cy="178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3373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8087" y="327660"/>
            <a:ext cx="7117081" cy="6705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8087" y="1480785"/>
            <a:ext cx="8516451" cy="3529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  <a:p>
            <a:pPr lvl="5"/>
            <a:r>
              <a:rPr lang="en-US" dirty="0"/>
              <a:t>Sechste Ebene</a:t>
            </a:r>
          </a:p>
          <a:p>
            <a:pPr lvl="6"/>
            <a:r>
              <a:rPr lang="en-US" dirty="0"/>
              <a:t>Siebte Ebene</a:t>
            </a:r>
          </a:p>
          <a:p>
            <a:pPr lvl="7"/>
            <a:r>
              <a:rPr lang="en-US" dirty="0"/>
              <a:t>Achte Ebene</a:t>
            </a:r>
          </a:p>
          <a:p>
            <a:pPr lvl="8"/>
            <a:r>
              <a:rPr lang="en-US" dirty="0"/>
              <a:t>Neun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31808" y="5155707"/>
            <a:ext cx="2224921" cy="29615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B6E833C-E1C1-44C3-A32F-C3B31A80BED2}" type="datetime1">
              <a:rPr lang="de-CH" smtClean="0"/>
              <a:t>31.12.202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8087" y="5155707"/>
            <a:ext cx="1866901" cy="1782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09528" y="5155707"/>
            <a:ext cx="693421" cy="1782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064FCE7C-8A81-4D44-94E4-964CD1AFD4A0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C937DD9-DED1-49CE-808F-2026D00EA2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16525"/>
          <a:stretch/>
        </p:blipFill>
        <p:spPr>
          <a:xfrm>
            <a:off x="7826143" y="277463"/>
            <a:ext cx="1662010" cy="75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281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6" r:id="rId4"/>
    <p:sldLayoutId id="2147483673" r:id="rId5"/>
    <p:sldLayoutId id="2147483667" r:id="rId6"/>
    <p:sldLayoutId id="2147483674" r:id="rId7"/>
    <p:sldLayoutId id="2147483675" r:id="rId8"/>
    <p:sldLayoutId id="2147483676" r:id="rId9"/>
    <p:sldLayoutId id="2147483659" r:id="rId10"/>
  </p:sldLayoutIdLst>
  <p:hf sldNum="0" hdr="0" ftr="0"/>
  <p:txStyles>
    <p:titleStyle>
      <a:lvl1pPr algn="l" defTabSz="74167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7416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en-US" sz="1600" b="1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504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756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1008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-252000" algn="l" defTabSz="7416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1pPr>
      <a:lvl2pPr marL="37083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2pPr>
      <a:lvl3pPr marL="74167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3pPr>
      <a:lvl4pPr marL="111250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4pPr>
      <a:lvl5pPr marL="148334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5pPr>
      <a:lvl6pPr marL="1854175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6pPr>
      <a:lvl7pPr marL="2225010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7pPr>
      <a:lvl8pPr marL="2595844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8pPr>
      <a:lvl9pPr marL="2966679" algn="l" defTabSz="741670" rtl="0" eaLnBrk="1" latinLnBrk="0" hangingPunct="1">
        <a:defRPr sz="14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3" userDrawn="1">
          <p15:clr>
            <a:srgbClr val="F26B43"/>
          </p15:clr>
        </p15:guide>
        <p15:guide id="2" pos="5800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1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ontiersin.org/journals/physics/articles/10.3389/fphy.2020.00297/full" TargetMode="External"/><Relationship Id="rId7" Type="http://schemas.openxmlformats.org/officeDocument/2006/relationships/hyperlink" Target="https://journals.aps.org/prresearch/abstract/10.1103/PhysRevResearch.5.013105?utm_source=chatgp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XanaduAI/expressive_power_of_quantum_models/blob/master/tutorial_expressivity_fourier_series.ipynb" TargetMode="External"/><Relationship Id="rId5" Type="http://schemas.openxmlformats.org/officeDocument/2006/relationships/hyperlink" Target="https://quantum-journal.org/papers/q-2020-02-06-226/pdf/" TargetMode="External"/><Relationship Id="rId4" Type="http://schemas.openxmlformats.org/officeDocument/2006/relationships/hyperlink" Target="https://journals.aps.org/pra/abstract/10.1103/PhysRevA.103.032430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ontiersin.org/journals/physics/articles/10.3389/fphy.2020.00297/ful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hyperlink" Target="https://journals.aps.org/pra/abstract/10.1103/PhysRevA.103.032430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9E39B4-0BDE-4993-BF2B-5350FBB69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en-US" dirty="0"/>
            </a:br>
            <a:r>
              <a:rPr lang="en-US" b="0" dirty="0"/>
              <a:t>Introduction &amp; Motiv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FB770-CC17-4CC1-B2DB-EEAAC3ABD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1209565"/>
            <a:ext cx="8791332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tivations: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No-Cloning</a:t>
            </a:r>
            <a:r>
              <a:rPr lang="de-CH" sz="1400" dirty="0"/>
              <a:t> Theorem: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dirty="0" err="1"/>
              <a:t>Classical</a:t>
            </a:r>
            <a:r>
              <a:rPr lang="de-CH" dirty="0"/>
              <a:t> </a:t>
            </a:r>
            <a:r>
              <a:rPr lang="de-CH" dirty="0" err="1"/>
              <a:t>circuits</a:t>
            </a:r>
            <a:r>
              <a:rPr lang="de-CH" dirty="0"/>
              <a:t> / NN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have</a:t>
            </a:r>
            <a:r>
              <a:rPr lang="de-CH" dirty="0"/>
              <a:t> fan-out (</a:t>
            </a:r>
            <a:r>
              <a:rPr lang="de-CH" dirty="0" err="1"/>
              <a:t>output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node</a:t>
            </a:r>
            <a:r>
              <a:rPr lang="de-CH" dirty="0"/>
              <a:t> / </a:t>
            </a:r>
            <a:r>
              <a:rPr lang="de-CH" dirty="0" err="1"/>
              <a:t>neuron</a:t>
            </a:r>
            <a:r>
              <a:rPr lang="de-CH" dirty="0"/>
              <a:t> etc.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(</a:t>
            </a:r>
            <a:r>
              <a:rPr lang="de-CH" dirty="0" err="1"/>
              <a:t>copied</a:t>
            </a:r>
            <a:r>
              <a:rPr lang="de-CH" dirty="0"/>
              <a:t>) </a:t>
            </a:r>
            <a:r>
              <a:rPr lang="de-CH" dirty="0" err="1"/>
              <a:t>input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several</a:t>
            </a:r>
            <a:r>
              <a:rPr lang="de-CH" dirty="0"/>
              <a:t> </a:t>
            </a:r>
            <a:r>
              <a:rPr lang="de-CH" dirty="0" err="1"/>
              <a:t>others</a:t>
            </a:r>
            <a:r>
              <a:rPr lang="de-CH" dirty="0"/>
              <a:t>)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get</a:t>
            </a:r>
            <a:r>
              <a:rPr lang="de-CH" dirty="0"/>
              <a:t> </a:t>
            </a:r>
            <a:r>
              <a:rPr lang="de-CH" dirty="0" err="1"/>
              <a:t>similar</a:t>
            </a:r>
            <a:r>
              <a:rPr lang="de-CH" dirty="0"/>
              <a:t> </a:t>
            </a:r>
            <a:r>
              <a:rPr lang="de-CH" dirty="0" err="1"/>
              <a:t>effect</a:t>
            </a:r>
            <a:r>
              <a:rPr lang="de-CH" dirty="0"/>
              <a:t> in QNN: multiple </a:t>
            </a:r>
            <a:r>
              <a:rPr lang="de-CH" dirty="0" err="1"/>
              <a:t>independent</a:t>
            </a:r>
            <a:r>
              <a:rPr lang="de-CH" dirty="0"/>
              <a:t> redundant </a:t>
            </a:r>
            <a:r>
              <a:rPr lang="de-CH" dirty="0" err="1"/>
              <a:t>encodings</a:t>
            </a:r>
            <a:endParaRPr lang="de-CH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Complex</a:t>
            </a:r>
            <a:r>
              <a:rPr lang="de-CH" sz="1400" dirty="0"/>
              <a:t> </a:t>
            </a:r>
            <a:r>
              <a:rPr lang="de-CH" sz="1400" dirty="0" err="1"/>
              <a:t>target</a:t>
            </a:r>
            <a:r>
              <a:rPr lang="de-CH" sz="1400" dirty="0"/>
              <a:t> </a:t>
            </a:r>
            <a:r>
              <a:rPr lang="de-CH" sz="1400" dirty="0" err="1"/>
              <a:t>functions</a:t>
            </a:r>
            <a:r>
              <a:rPr lang="de-CH" sz="1400" dirty="0"/>
              <a:t> </a:t>
            </a:r>
            <a:r>
              <a:rPr lang="de-CH" sz="1400" dirty="0" err="1"/>
              <a:t>require</a:t>
            </a:r>
            <a:r>
              <a:rPr lang="de-CH" sz="1400" dirty="0"/>
              <a:t> </a:t>
            </a:r>
            <a:r>
              <a:rPr lang="de-CH" sz="1400" dirty="0" err="1"/>
              <a:t>more</a:t>
            </a:r>
            <a:r>
              <a:rPr lang="de-CH" sz="1400" dirty="0"/>
              <a:t> </a:t>
            </a:r>
            <a:r>
              <a:rPr lang="de-CH" sz="1400" dirty="0" err="1"/>
              <a:t>information</a:t>
            </a:r>
            <a:r>
              <a:rPr lang="de-CH" sz="1400" dirty="0"/>
              <a:t>: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dirty="0"/>
              <a:t>Easy </a:t>
            </a:r>
            <a:r>
              <a:rPr lang="de-CH" dirty="0" err="1"/>
              <a:t>wa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epresenting</a:t>
            </a:r>
            <a:r>
              <a:rPr lang="de-CH" dirty="0"/>
              <a:t> </a:t>
            </a:r>
            <a:r>
              <a:rPr lang="de-CH" dirty="0" err="1"/>
              <a:t>nonlinearity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Trade-off </a:t>
            </a:r>
            <a:r>
              <a:rPr lang="de-CH" dirty="0" err="1"/>
              <a:t>between</a:t>
            </a:r>
            <a:r>
              <a:rPr lang="de-CH" dirty="0"/>
              <a:t> </a:t>
            </a:r>
            <a:r>
              <a:rPr lang="de-CH" dirty="0" err="1"/>
              <a:t>expressivity</a:t>
            </a:r>
            <a:r>
              <a:rPr lang="de-CH" dirty="0"/>
              <a:t> (</a:t>
            </a:r>
            <a:r>
              <a:rPr lang="en-US" dirty="0"/>
              <a:t>distinguish finer variations of the input data) and practicality 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Too few: Underfitting (lack of nonlinearity etc.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To Many: Overfitting (noise amplification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y references (papers and codes):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Input Redundancy for Parameterized Quantum Circuit” 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Effect of data encoding on the expressive power of variational quantum-machine-learning models”</a:t>
            </a:r>
            <a:r>
              <a:rPr lang="en-US" sz="1400" dirty="0">
                <a:solidFill>
                  <a:schemeClr val="accent6">
                    <a:lumMod val="75000"/>
                  </a:schemeClr>
                </a:solidFill>
              </a:rPr>
              <a:t> (a more general paper then the above)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Data re-uploading for a universal quantum classifier”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utorial</a:t>
            </a: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>
                    <a:lumMod val="75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Nonlinear transformations in quantum computation</a:t>
            </a:r>
            <a:r>
              <a:rPr lang="en-US" sz="1400" dirty="0">
                <a:solidFill>
                  <a:schemeClr val="accent6">
                    <a:lumMod val="75000"/>
                  </a:schemeClr>
                </a:solidFill>
              </a:rPr>
              <a:t>”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de-CH" dirty="0"/>
          </a:p>
          <a:p>
            <a:pPr marL="285750" lvl="4" indent="-285750">
              <a:buFont typeface="Arial" panose="020B0604020202020204" pitchFamily="34" charset="0"/>
              <a:buChar char="•"/>
            </a:pPr>
            <a:endParaRPr lang="de-CH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115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692FF-41C6-C54A-F344-75D78E80F9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78994C-CDED-9310-8F92-840E8D18D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de-CH" b="0" dirty="0"/>
            </a:br>
            <a:r>
              <a:rPr lang="de-CH" b="0" dirty="0"/>
              <a:t>Challenges &amp; </a:t>
            </a:r>
            <a:r>
              <a:rPr lang="de-CH" b="0" dirty="0" err="1"/>
              <a:t>Reflection</a:t>
            </a:r>
            <a:r>
              <a:rPr lang="de-CH" b="0" dirty="0"/>
              <a:t> (</a:t>
            </a:r>
            <a:r>
              <a:rPr lang="de-CH" b="0" dirty="0" err="1"/>
              <a:t>Lessons</a:t>
            </a:r>
            <a:r>
              <a:rPr lang="de-CH" b="0" dirty="0"/>
              <a:t> </a:t>
            </a:r>
            <a:r>
              <a:rPr lang="de-CH" b="0" dirty="0" err="1"/>
              <a:t>Learned</a:t>
            </a:r>
            <a:r>
              <a:rPr lang="de-CH" b="0" dirty="0"/>
              <a:t>)</a:t>
            </a:r>
            <a:endParaRPr lang="en-US" b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2E7C9A-2C61-5EB6-3745-19771C3F66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087" y="1194066"/>
            <a:ext cx="8516451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Data </a:t>
            </a:r>
            <a:r>
              <a:rPr lang="de-CH" dirty="0" err="1"/>
              <a:t>encod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(</a:t>
            </a:r>
            <a:r>
              <a:rPr lang="de-CH" dirty="0" err="1"/>
              <a:t>maybe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most</a:t>
            </a:r>
            <a:r>
              <a:rPr lang="de-CH" dirty="0"/>
              <a:t>?) </a:t>
            </a:r>
            <a:r>
              <a:rPr lang="de-CH" dirty="0" err="1"/>
              <a:t>important</a:t>
            </a:r>
            <a:r>
              <a:rPr lang="de-CH" dirty="0"/>
              <a:t> </a:t>
            </a:r>
            <a:r>
              <a:rPr lang="de-CH" dirty="0" err="1"/>
              <a:t>part</a:t>
            </a:r>
            <a:r>
              <a:rPr lang="de-CH" dirty="0"/>
              <a:t> in a QML </a:t>
            </a:r>
            <a:r>
              <a:rPr lang="de-CH" dirty="0" err="1"/>
              <a:t>model</a:t>
            </a:r>
            <a:r>
              <a:rPr lang="de-CH" dirty="0"/>
              <a:t> (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xampl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introduce</a:t>
            </a:r>
            <a:r>
              <a:rPr lang="de-CH" dirty="0"/>
              <a:t> </a:t>
            </a:r>
            <a:r>
              <a:rPr lang="de-CH" dirty="0" err="1"/>
              <a:t>nonlinearity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a </a:t>
            </a:r>
            <a:r>
              <a:rPr lang="de-CH" dirty="0" err="1"/>
              <a:t>quantum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Finding</a:t>
            </a:r>
            <a:r>
              <a:rPr lang="de-CH" dirty="0"/>
              <a:t> </a:t>
            </a:r>
            <a:r>
              <a:rPr lang="de-CH" dirty="0" err="1"/>
              <a:t>target</a:t>
            </a:r>
            <a:r>
              <a:rPr lang="de-CH" dirty="0"/>
              <a:t> </a:t>
            </a:r>
            <a:r>
              <a:rPr lang="de-CH" dirty="0" err="1"/>
              <a:t>function</a:t>
            </a:r>
            <a:r>
              <a:rPr lang="de-CH" dirty="0"/>
              <a:t> in a </a:t>
            </a:r>
            <a:r>
              <a:rPr lang="de-CH" dirty="0" err="1"/>
              <a:t>complex</a:t>
            </a:r>
            <a:r>
              <a:rPr lang="de-CH" dirty="0"/>
              <a:t> </a:t>
            </a:r>
            <a:r>
              <a:rPr lang="de-CH" dirty="0" err="1"/>
              <a:t>model</a:t>
            </a:r>
            <a:r>
              <a:rPr lang="de-CH" dirty="0"/>
              <a:t> (</a:t>
            </a:r>
            <a:r>
              <a:rPr lang="de-CH" dirty="0" err="1"/>
              <a:t>therefore</a:t>
            </a:r>
            <a:r>
              <a:rPr lang="de-CH" dirty="0"/>
              <a:t> also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ourier</a:t>
            </a:r>
            <a:r>
              <a:rPr lang="de-CH" dirty="0"/>
              <a:t> rank etc.)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challenging</a:t>
            </a:r>
            <a:r>
              <a:rPr lang="de-CH" dirty="0"/>
              <a:t> </a:t>
            </a:r>
            <a:r>
              <a:rPr lang="de-CH" dirty="0" err="1"/>
              <a:t>especially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kernels</a:t>
            </a:r>
            <a:r>
              <a:rPr lang="de-CH" dirty="0"/>
              <a:t>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ncoding defines the degree / frequence and the model defines the </a:t>
            </a:r>
            <a:r>
              <a:rPr lang="en-US" b="1" dirty="0" err="1"/>
              <a:t>coefficents</a:t>
            </a:r>
            <a:endParaRPr lang="de-CH" b="1" dirty="0"/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Encoding defines how many repetitions (or layers) are needed to represent the degree of the function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Model (quantum circuit) learns the actual coefficients of the function (slope, intercept, etc.) during the training process (so repeating ansatz influences tho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 number of repetitions depends a lot on the encoding fun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 would do differently if I could start over again: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eading the papers more carefully. I had to reread them quite a lot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Trying out the QNN version for Wine Quality. That we would have a nice similarity comparison to time </a:t>
            </a:r>
            <a:r>
              <a:rPr lang="en-US" sz="1400" dirty="0" err="1"/>
              <a:t>serie</a:t>
            </a:r>
            <a:r>
              <a:rPr lang="en-US" sz="1400" dirty="0"/>
              <a:t> dataset.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Not investing too much time on training (take smaller datasets etc.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206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1B409C-5284-9907-2053-469FFC81F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B97297-92EB-A4D7-E987-C54188D41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087" y="327660"/>
            <a:ext cx="8516451" cy="670560"/>
          </a:xfrm>
        </p:spPr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en-US" dirty="0"/>
            </a:br>
            <a:r>
              <a:rPr lang="en-US" b="0" dirty="0"/>
              <a:t>Current State of the Fiel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F8494250-05C5-CFCA-6EE5-B9F02FC410A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86043" y="943041"/>
                <a:ext cx="8516451" cy="5016234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Discussion </a:t>
                </a:r>
                <a:r>
                  <a:rPr lang="de-CH" dirty="0" err="1"/>
                  <a:t>about</a:t>
                </a:r>
                <a:r>
                  <a:rPr lang="de-CH" dirty="0"/>
                  <a:t> </a:t>
                </a:r>
                <a:r>
                  <a:rPr lang="en-US" dirty="0">
                    <a:solidFill>
                      <a:schemeClr val="accent6">
                        <a:lumMod val="75000"/>
                      </a:schemeClr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lower</a:t>
                </a:r>
                <a:r>
                  <a:rPr lang="de-CH" dirty="0"/>
                  <a:t> &amp; </a:t>
                </a:r>
                <a:r>
                  <a:rPr lang="en-US" dirty="0">
                    <a:solidFill>
                      <a:schemeClr val="accent6">
                        <a:lumMod val="75000"/>
                      </a:schemeClr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upper</a:t>
                </a:r>
                <a:r>
                  <a:rPr lang="en-US" dirty="0">
                    <a:solidFill>
                      <a:schemeClr val="accent6">
                        <a:lumMod val="75000"/>
                      </a:schemeClr>
                    </a:solidFill>
                  </a:rPr>
                  <a:t> </a:t>
                </a:r>
                <a:r>
                  <a:rPr lang="en-US" dirty="0"/>
                  <a:t>b</a:t>
                </a:r>
                <a:r>
                  <a:rPr lang="de-CH" dirty="0" err="1"/>
                  <a:t>ounds</a:t>
                </a:r>
                <a:r>
                  <a:rPr lang="de-CH" dirty="0"/>
                  <a:t> </a:t>
                </a:r>
                <a:r>
                  <a:rPr lang="de-CH" dirty="0" err="1"/>
                  <a:t>for</a:t>
                </a:r>
                <a:r>
                  <a:rPr lang="de-CH" dirty="0"/>
                  <a:t> </a:t>
                </a:r>
                <a:r>
                  <a:rPr lang="de-CH" dirty="0" err="1"/>
                  <a:t>encoding</a:t>
                </a:r>
                <a:r>
                  <a:rPr lang="de-CH" dirty="0"/>
                  <a:t> </a:t>
                </a:r>
                <a:r>
                  <a:rPr lang="de-CH" dirty="0" err="1"/>
                  <a:t>data</a:t>
                </a:r>
                <a:endParaRPr lang="de-CH" dirty="0"/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«</a:t>
                </a:r>
                <a:r>
                  <a:rPr lang="de-CH" sz="1400" dirty="0" err="1"/>
                  <a:t>How</a:t>
                </a:r>
                <a:r>
                  <a:rPr lang="de-CH" sz="1400" dirty="0"/>
                  <a:t> </a:t>
                </a:r>
                <a:r>
                  <a:rPr lang="de-CH" sz="1400" dirty="0" err="1"/>
                  <a:t>many</a:t>
                </a:r>
                <a:r>
                  <a:rPr lang="de-CH" sz="1400" dirty="0"/>
                  <a:t> </a:t>
                </a:r>
                <a:r>
                  <a:rPr lang="de-CH" sz="1400" dirty="0" err="1"/>
                  <a:t>time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data</a:t>
                </a:r>
                <a:r>
                  <a:rPr lang="de-CH" sz="1400" dirty="0"/>
                  <a:t> </a:t>
                </a:r>
                <a:r>
                  <a:rPr lang="de-CH" sz="1400" dirty="0" err="1"/>
                  <a:t>must</a:t>
                </a:r>
                <a:r>
                  <a:rPr lang="de-CH" sz="1400" dirty="0"/>
                  <a:t> </a:t>
                </a:r>
                <a:r>
                  <a:rPr lang="de-CH" sz="1400" dirty="0" err="1"/>
                  <a:t>b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ncoded</a:t>
                </a:r>
                <a:r>
                  <a:rPr lang="de-CH" sz="1400" dirty="0"/>
                  <a:t> </a:t>
                </a:r>
                <a:r>
                  <a:rPr lang="de-CH" sz="1400" dirty="0" err="1"/>
                  <a:t>to</a:t>
                </a:r>
                <a:r>
                  <a:rPr lang="de-CH" sz="1400" dirty="0"/>
                  <a:t> </a:t>
                </a:r>
                <a:r>
                  <a:rPr lang="de-CH" sz="1400" dirty="0" err="1"/>
                  <a:t>reach</a:t>
                </a:r>
                <a:r>
                  <a:rPr lang="de-CH" sz="1400" dirty="0"/>
                  <a:t> a </a:t>
                </a:r>
                <a:r>
                  <a:rPr lang="de-CH" sz="1400" dirty="0" err="1"/>
                  <a:t>desired</a:t>
                </a:r>
                <a:r>
                  <a:rPr lang="de-CH" sz="1400" dirty="0"/>
                  <a:t> </a:t>
                </a:r>
                <a:r>
                  <a:rPr lang="de-CH" sz="1400" dirty="0" err="1"/>
                  <a:t>level</a:t>
                </a:r>
                <a:r>
                  <a:rPr lang="de-CH" sz="1400" dirty="0"/>
                  <a:t> </a:t>
                </a:r>
                <a:r>
                  <a:rPr lang="de-CH" sz="1400" dirty="0" err="1"/>
                  <a:t>of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xpressivity</a:t>
                </a:r>
                <a:r>
                  <a:rPr lang="de-CH" sz="1400" dirty="0"/>
                  <a:t>?»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A </a:t>
                </a:r>
                <a:r>
                  <a:rPr lang="de-CH" sz="1400" dirty="0" err="1"/>
                  <a:t>lot</a:t>
                </a:r>
                <a:r>
                  <a:rPr lang="de-CH" sz="1400" dirty="0"/>
                  <a:t> </a:t>
                </a:r>
                <a:r>
                  <a:rPr lang="de-CH" sz="1400" dirty="0" err="1"/>
                  <a:t>of</a:t>
                </a:r>
                <a:r>
                  <a:rPr lang="de-CH" sz="1400" dirty="0"/>
                  <a:t> </a:t>
                </a:r>
                <a:r>
                  <a:rPr lang="de-CH" sz="1400" dirty="0" err="1"/>
                  <a:t>research</a:t>
                </a:r>
                <a:r>
                  <a:rPr lang="de-CH" sz="1400" dirty="0"/>
                  <a:t> </a:t>
                </a:r>
                <a:r>
                  <a:rPr lang="de-CH" sz="1400" dirty="0" err="1"/>
                  <a:t>ar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based</a:t>
                </a:r>
                <a:r>
                  <a:rPr lang="de-CH" sz="1400" dirty="0"/>
                  <a:t> on Fourier </a:t>
                </a:r>
                <a:r>
                  <a:rPr lang="de-CH" sz="1400" dirty="0" err="1"/>
                  <a:t>analysis</a:t>
                </a:r>
                <a:r>
                  <a:rPr lang="de-CH" sz="1400" dirty="0"/>
                  <a:t> (</a:t>
                </a:r>
                <a:r>
                  <a:rPr lang="de-CH" sz="1400" dirty="0" err="1"/>
                  <a:t>se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key</a:t>
                </a:r>
                <a:r>
                  <a:rPr lang="de-CH" sz="1400" dirty="0"/>
                  <a:t> </a:t>
                </a:r>
                <a:r>
                  <a:rPr lang="de-CH" sz="1400" dirty="0" err="1"/>
                  <a:t>reference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slid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before</a:t>
                </a:r>
                <a:r>
                  <a:rPr lang="de-CH" sz="1400" dirty="0"/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Encoding in </a:t>
                </a:r>
                <a:r>
                  <a:rPr lang="de-CH" dirty="0" err="1"/>
                  <a:t>quantum</a:t>
                </a:r>
                <a:r>
                  <a:rPr lang="de-CH" dirty="0"/>
                  <a:t> </a:t>
                </a:r>
                <a:r>
                  <a:rPr lang="de-CH" dirty="0" err="1"/>
                  <a:t>circuit</a:t>
                </a:r>
                <a:r>
                  <a:rPr lang="de-CH" dirty="0"/>
                  <a:t> </a:t>
                </a:r>
                <a:r>
                  <a:rPr lang="de-CH" dirty="0" err="1"/>
                  <a:t>can</a:t>
                </a:r>
                <a:r>
                  <a:rPr lang="de-CH" dirty="0"/>
                  <a:t> </a:t>
                </a:r>
                <a:r>
                  <a:rPr lang="de-CH" dirty="0" err="1"/>
                  <a:t>be</a:t>
                </a:r>
                <a:r>
                  <a:rPr lang="de-CH" dirty="0"/>
                  <a:t> </a:t>
                </a:r>
                <a:r>
                  <a:rPr lang="de-CH" dirty="0" err="1"/>
                  <a:t>seen</a:t>
                </a:r>
                <a:r>
                  <a:rPr lang="de-CH" dirty="0"/>
                  <a:t> </a:t>
                </a:r>
                <a:r>
                  <a:rPr lang="de-CH" dirty="0" err="1"/>
                  <a:t>as</a:t>
                </a:r>
                <a:r>
                  <a:rPr lang="de-CH" dirty="0"/>
                  <a:t> a form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activation</a:t>
                </a:r>
                <a:r>
                  <a:rPr lang="de-CH" dirty="0"/>
                  <a:t> </a:t>
                </a:r>
                <a:r>
                  <a:rPr lang="de-CH" dirty="0" err="1"/>
                  <a:t>function</a:t>
                </a:r>
                <a:endParaRPr lang="de-CH" dirty="0"/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Linear (</a:t>
                </a:r>
                <a:r>
                  <a:rPr lang="de-CH" sz="1400" dirty="0" err="1"/>
                  <a:t>identity</a:t>
                </a:r>
                <a:r>
                  <a:rPr lang="de-CH" sz="1400" dirty="0"/>
                  <a:t>) Encoding: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Input </a:t>
                </a:r>
                <a14:m>
                  <m:oMath xmlns:m="http://schemas.openxmlformats.org/officeDocument/2006/math">
                    <m:r>
                      <a:rPr lang="de-CH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is</a:t>
                </a:r>
                <a:r>
                  <a:rPr lang="de-CH" dirty="0"/>
                  <a:t> </a:t>
                </a:r>
                <a:r>
                  <a:rPr lang="de-CH" dirty="0" err="1"/>
                  <a:t>encoded</a:t>
                </a:r>
                <a:r>
                  <a:rPr lang="de-CH" dirty="0"/>
                  <a:t> </a:t>
                </a:r>
                <a:r>
                  <a:rPr lang="de-CH" dirty="0" err="1"/>
                  <a:t>linearly</a:t>
                </a:r>
                <a:r>
                  <a:rPr lang="de-CH" dirty="0"/>
                  <a:t>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η</m:t>
                    </m:r>
                    <m:d>
                      <m:dPr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CH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CH" b="0" i="1" smtClean="0">
                        <a:latin typeface="Cambria Math" panose="02040503050406030204" pitchFamily="18" charset="0"/>
                      </a:rPr>
                      <m:t>𝑎𝑥</m:t>
                    </m:r>
                    <m:r>
                      <a:rPr lang="de-CH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de-CH" b="0" i="1" smtClean="0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endParaRPr lang="de-CH" b="0" dirty="0"/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Lower </a:t>
                </a:r>
                <a:r>
                  <a:rPr lang="de-CH" dirty="0" err="1"/>
                  <a:t>bound</a:t>
                </a:r>
                <a:r>
                  <a:rPr lang="de-CH" dirty="0"/>
                  <a:t>: </a:t>
                </a:r>
                <a:r>
                  <a:rPr lang="de-CH" b="1" dirty="0" err="1"/>
                  <a:t>Logarithmic</a:t>
                </a:r>
                <a:r>
                  <a:rPr lang="de-CH" b="1" dirty="0"/>
                  <a:t> </a:t>
                </a:r>
                <a:r>
                  <a:rPr lang="de-CH" b="1" dirty="0" err="1"/>
                  <a:t>growth</a:t>
                </a:r>
                <a:r>
                  <a:rPr lang="de-CH" b="1" dirty="0"/>
                  <a:t>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redundancy</a:t>
                </a:r>
                <a:r>
                  <a:rPr lang="de-CH" dirty="0"/>
                  <a:t> </a:t>
                </a:r>
                <a:r>
                  <a:rPr lang="de-CH" dirty="0" err="1"/>
                  <a:t>with</a:t>
                </a:r>
                <a:r>
                  <a:rPr lang="de-CH" dirty="0"/>
                  <a:t> </a:t>
                </a:r>
                <a:r>
                  <a:rPr lang="de-CH" dirty="0" err="1"/>
                  <a:t>function</a:t>
                </a:r>
                <a:r>
                  <a:rPr lang="de-CH" dirty="0"/>
                  <a:t> </a:t>
                </a:r>
                <a:r>
                  <a:rPr lang="de-CH" dirty="0" err="1"/>
                  <a:t>complexity</a:t>
                </a:r>
                <a:r>
                  <a:rPr lang="de-CH" dirty="0"/>
                  <a:t> (</a:t>
                </a:r>
                <a14:m>
                  <m:oMath xmlns:m="http://schemas.openxmlformats.org/officeDocument/2006/math">
                    <m:r>
                      <a:rPr lang="de-CH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CH" b="0" i="1" smtClean="0">
                        <a:latin typeface="Cambria Math" panose="02040503050406030204" pitchFamily="18" charset="0"/>
                      </a:rPr>
                      <m:t>≥</m:t>
                    </m:r>
                    <m:func>
                      <m:funcPr>
                        <m:ctrlPr>
                          <a:rPr lang="de-CH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de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de-CH" b="0" i="0" smtClean="0">
                                <a:latin typeface="Cambria Math" panose="02040503050406030204" pitchFamily="18" charset="0"/>
                              </a:rPr>
                              <m:t>log</m:t>
                            </m:r>
                          </m:e>
                          <m:sub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fName>
                      <m:e>
                        <m:d>
                          <m:dPr>
                            <m:ctrlPr>
                              <a:rPr lang="de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+1</m:t>
                            </m:r>
                          </m:e>
                        </m:d>
                      </m:e>
                    </m:func>
                  </m:oMath>
                </a14:m>
                <a:r>
                  <a:rPr lang="de-CH" dirty="0"/>
                  <a:t>)</a:t>
                </a:r>
              </a:p>
              <a:p>
                <a:pPr marL="1041750" lvl="6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Similar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ZFeatureMap</a:t>
                </a:r>
                <a:r>
                  <a:rPr lang="de-CH" dirty="0"/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CH" dirty="0"/>
                  <a:t>)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CH" b="0" i="1" smtClean="0">
                        <a:latin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is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Fourier rank (a </a:t>
                </a:r>
                <a:r>
                  <a:rPr lang="de-CH" dirty="0" err="1"/>
                  <a:t>complexity</a:t>
                </a:r>
                <a:r>
                  <a:rPr lang="de-CH" dirty="0"/>
                  <a:t> </a:t>
                </a:r>
                <a:r>
                  <a:rPr lang="de-CH" dirty="0" err="1"/>
                  <a:t>measure</a:t>
                </a:r>
                <a:r>
                  <a:rPr lang="de-CH" dirty="0"/>
                  <a:t>)</a:t>
                </a:r>
              </a:p>
              <a:p>
                <a:pPr marL="537750" lvl="3" indent="-285750">
                  <a:buFont typeface="Arial" panose="020B0604020202020204" pitchFamily="34" charset="0"/>
                  <a:buChar char="•"/>
                </a:pPr>
                <a:r>
                  <a:rPr lang="de-CH" sz="1400" dirty="0" err="1"/>
                  <a:t>Arcsine</a:t>
                </a:r>
                <a:r>
                  <a:rPr lang="de-CH" sz="1400" dirty="0"/>
                  <a:t> Encoding: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Input </a:t>
                </a:r>
                <a14:m>
                  <m:oMath xmlns:m="http://schemas.openxmlformats.org/officeDocument/2006/math">
                    <m:r>
                      <a:rPr lang="de-CH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is</a:t>
                </a:r>
                <a:r>
                  <a:rPr lang="de-CH" dirty="0"/>
                  <a:t> </a:t>
                </a:r>
                <a:r>
                  <a:rPr lang="de-CH" dirty="0" err="1"/>
                  <a:t>encoded</a:t>
                </a:r>
                <a:r>
                  <a:rPr lang="de-CH" dirty="0"/>
                  <a:t> </a:t>
                </a:r>
                <a:r>
                  <a:rPr lang="de-CH" dirty="0" err="1"/>
                  <a:t>linearly</a:t>
                </a:r>
                <a:r>
                  <a:rPr lang="de-CH" dirty="0"/>
                  <a:t>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η</m:t>
                    </m:r>
                    <m:d>
                      <m:dPr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CH" i="1" smtClean="0"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de-CH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de-CH" b="0" i="0" smtClean="0">
                            <a:latin typeface="Cambria Math" panose="02040503050406030204" pitchFamily="18" charset="0"/>
                          </a:rPr>
                          <m:t>arcsin</m:t>
                        </m:r>
                      </m:fName>
                      <m:e>
                        <m:d>
                          <m:dPr>
                            <m:ctrlPr>
                              <a:rPr lang="de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𝑎𝑥</m:t>
                            </m:r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de-CH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e>
                        </m:d>
                      </m:e>
                    </m:func>
                  </m:oMath>
                </a14:m>
                <a:endParaRPr lang="de-CH" b="0" dirty="0"/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Lower </a:t>
                </a:r>
                <a:r>
                  <a:rPr lang="de-CH" dirty="0" err="1"/>
                  <a:t>bound</a:t>
                </a:r>
                <a:r>
                  <a:rPr lang="de-CH" dirty="0"/>
                  <a:t>: </a:t>
                </a:r>
                <a:r>
                  <a:rPr lang="de-CH" dirty="0" err="1"/>
                  <a:t>Redundancy</a:t>
                </a:r>
                <a:r>
                  <a:rPr lang="de-CH" dirty="0"/>
                  <a:t> </a:t>
                </a:r>
                <a14:m>
                  <m:oMath xmlns:m="http://schemas.openxmlformats.org/officeDocument/2006/math">
                    <m:r>
                      <a:rPr lang="de-CH" b="0" i="1" smtClean="0"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must</a:t>
                </a:r>
                <a:r>
                  <a:rPr lang="de-CH" dirty="0"/>
                  <a:t> </a:t>
                </a:r>
                <a:r>
                  <a:rPr lang="de-CH" dirty="0" err="1"/>
                  <a:t>be</a:t>
                </a:r>
                <a:r>
                  <a:rPr lang="de-CH" dirty="0"/>
                  <a:t> </a:t>
                </a:r>
                <a:r>
                  <a:rPr lang="de-CH" b="1" dirty="0"/>
                  <a:t>at least </a:t>
                </a:r>
                <a:r>
                  <a:rPr lang="de-CH" b="1" dirty="0" err="1"/>
                  <a:t>the</a:t>
                </a:r>
                <a:r>
                  <a:rPr lang="de-CH" b="1" dirty="0"/>
                  <a:t> </a:t>
                </a:r>
                <a:r>
                  <a:rPr lang="de-CH" b="1" dirty="0" err="1"/>
                  <a:t>degree</a:t>
                </a:r>
                <a:r>
                  <a:rPr lang="de-CH" b="1" dirty="0"/>
                  <a:t> </a:t>
                </a:r>
                <a:r>
                  <a:rPr lang="de-CH" b="1" dirty="0" err="1"/>
                  <a:t>of</a:t>
                </a:r>
                <a:r>
                  <a:rPr lang="de-CH" b="1" dirty="0"/>
                  <a:t> </a:t>
                </a:r>
                <a:r>
                  <a:rPr lang="de-CH" b="1" dirty="0" err="1"/>
                  <a:t>the</a:t>
                </a:r>
                <a:r>
                  <a:rPr lang="de-CH" b="1" dirty="0"/>
                  <a:t> </a:t>
                </a:r>
                <a:r>
                  <a:rPr lang="de-CH" b="1" dirty="0" err="1"/>
                  <a:t>target</a:t>
                </a:r>
                <a:r>
                  <a:rPr lang="de-CH" b="1" dirty="0"/>
                  <a:t> polynomial</a:t>
                </a:r>
              </a:p>
              <a:p>
                <a:pPr marL="1041750" lvl="6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Similar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ZZFeatureMap</a:t>
                </a:r>
                <a:r>
                  <a:rPr lang="de-CH" dirty="0"/>
                  <a:t> (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φ</m:t>
                    </m:r>
                    <m:d>
                      <m:dPr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,</m:t>
                        </m:r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𝑦</m:t>
                        </m:r>
                      </m:e>
                    </m:d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(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  <m:r>
                      <a:rPr lang="de-CH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de-CH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y</m:t>
                    </m:r>
                    <m:r>
                      <a:rPr lang="de-CH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CH" dirty="0"/>
                  <a:t>)</a:t>
                </a:r>
                <a:endParaRPr lang="de-CH" b="1" dirty="0"/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Alternative </a:t>
                </a:r>
                <a:r>
                  <a:rPr lang="de-CH" dirty="0" err="1"/>
                  <a:t>def</a:t>
                </a:r>
                <a:r>
                  <a:rPr lang="de-CH" dirty="0"/>
                  <a:t>.: </a:t>
                </a:r>
                <a14:m>
                  <m:oMath xmlns:m="http://schemas.openxmlformats.org/officeDocument/2006/math">
                    <m:r>
                      <a:rPr lang="de-CH" b="1" i="1" smtClean="0">
                        <a:latin typeface="Cambria Math" panose="02040503050406030204" pitchFamily="18" charset="0"/>
                      </a:rPr>
                      <m:t>𝒏</m:t>
                    </m:r>
                    <m:r>
                      <a:rPr lang="de-CH" b="1" i="0" smtClean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de-CH" b="1" i="0" smtClean="0">
                        <a:latin typeface="Cambria Math" panose="02040503050406030204" pitchFamily="18" charset="0"/>
                      </a:rPr>
                      <m:t>𝐥𝐨𝐠</m:t>
                    </m:r>
                    <m:r>
                      <a:rPr lang="de-CH" b="1" i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CH" b="1" i="0" smtClean="0">
                        <a:latin typeface="Cambria Math" panose="02040503050406030204" pitchFamily="18" charset="0"/>
                      </a:rPr>
                      <m:t>𝐫</m:t>
                    </m:r>
                    <m:r>
                      <a:rPr lang="de-CH" b="1" i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CH" b="1" dirty="0"/>
                  <a:t> where </a:t>
                </a:r>
                <a14:m>
                  <m:oMath xmlns:m="http://schemas.openxmlformats.org/officeDocument/2006/math">
                    <m:r>
                      <a:rPr lang="de-CH" b="1" i="1">
                        <a:latin typeface="Cambria Math" panose="02040503050406030204" pitchFamily="18" charset="0"/>
                      </a:rPr>
                      <m:t>𝐫</m:t>
                    </m:r>
                  </m:oMath>
                </a14:m>
                <a:r>
                  <a:rPr lang="de-CH" b="1" dirty="0"/>
                  <a:t> </a:t>
                </a:r>
                <a:r>
                  <a:rPr lang="de-CH" b="1" dirty="0" err="1"/>
                  <a:t>is</a:t>
                </a:r>
                <a:r>
                  <a:rPr lang="de-CH" b="1" dirty="0"/>
                  <a:t> </a:t>
                </a:r>
                <a:r>
                  <a:rPr lang="de-CH" b="1" dirty="0" err="1"/>
                  <a:t>the</a:t>
                </a:r>
                <a:r>
                  <a:rPr lang="de-CH" b="1" dirty="0"/>
                  <a:t> </a:t>
                </a:r>
                <a:r>
                  <a:rPr lang="de-CH" b="1" dirty="0" err="1"/>
                  <a:t>sc</a:t>
                </a:r>
                <a:r>
                  <a:rPr lang="de-CH" b="1" dirty="0"/>
                  <a:t>-rank </a:t>
                </a:r>
                <a:endParaRPr lang="de-CH" dirty="0"/>
              </a:p>
              <a:p>
                <a:pPr marL="537750" lvl="3" indent="-285750">
                  <a:buFont typeface="Arial" panose="020B0604020202020204" pitchFamily="34" charset="0"/>
                  <a:buChar char="•"/>
                </a:pPr>
                <a:r>
                  <a:rPr lang="de-CH" sz="1400" dirty="0">
                    <a:solidFill>
                      <a:schemeClr val="tx1"/>
                    </a:solidFill>
                  </a:rPr>
                  <a:t>Many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more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lower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bounds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for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encoding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functions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can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be</a:t>
                </a:r>
                <a:r>
                  <a:rPr lang="de-CH" sz="1400" dirty="0">
                    <a:solidFill>
                      <a:schemeClr val="tx1"/>
                    </a:solidFill>
                  </a:rPr>
                  <a:t> </a:t>
                </a:r>
                <a:r>
                  <a:rPr lang="de-CH" sz="1400" dirty="0" err="1">
                    <a:solidFill>
                      <a:schemeClr val="tx1"/>
                    </a:solidFill>
                  </a:rPr>
                  <a:t>made</a:t>
                </a:r>
                <a:endParaRPr lang="de-CH" sz="1400" dirty="0">
                  <a:solidFill>
                    <a:schemeClr val="tx1"/>
                  </a:solidFill>
                </a:endParaRPr>
              </a:p>
              <a:p>
                <a:pPr marL="537750" lvl="3" indent="-285750">
                  <a:buFont typeface="Arial" panose="020B0604020202020204" pitchFamily="34" charset="0"/>
                  <a:buChar char="•"/>
                </a:pPr>
                <a:r>
                  <a:rPr lang="de-CH" sz="1400" dirty="0" err="1"/>
                  <a:t>Upperbound</a:t>
                </a:r>
                <a:r>
                  <a:rPr lang="de-CH" sz="1400" dirty="0"/>
                  <a:t>: 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𝐾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f>
                      <m:fPr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de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𝑑</m:t>
                            </m:r>
                          </m:e>
                          <m:sup>
                            <m:r>
                              <a:rPr lang="de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de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𝐿</m:t>
                            </m:r>
                          </m:sup>
                        </m:sSup>
                      </m:num>
                      <m:den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</m:oMath>
                </a14:m>
                <a:r>
                  <a:rPr lang="de-CH" sz="1400" dirty="0"/>
                  <a:t> </a:t>
                </a:r>
                <a:r>
                  <a:rPr lang="de-CH" dirty="0" err="1"/>
                  <a:t>means</a:t>
                </a:r>
                <a:r>
                  <a:rPr lang="de-CH" dirty="0"/>
                  <a:t> </a:t>
                </a:r>
                <a:r>
                  <a:rPr lang="de-CH" dirty="0" err="1"/>
                  <a:t>that</a:t>
                </a:r>
                <a:r>
                  <a:rPr lang="de-CH" dirty="0"/>
                  <a:t> a </a:t>
                </a:r>
                <a:r>
                  <a:rPr lang="de-CH" dirty="0" err="1"/>
                  <a:t>quantum</a:t>
                </a:r>
                <a:r>
                  <a:rPr lang="de-CH" dirty="0"/>
                  <a:t> </a:t>
                </a:r>
                <a:r>
                  <a:rPr lang="de-CH" dirty="0" err="1"/>
                  <a:t>model</a:t>
                </a:r>
                <a:r>
                  <a:rPr lang="de-CH" dirty="0"/>
                  <a:t> </a:t>
                </a:r>
                <a:r>
                  <a:rPr lang="de-CH" dirty="0" err="1"/>
                  <a:t>can</a:t>
                </a:r>
                <a:r>
                  <a:rPr lang="de-CH" dirty="0"/>
                  <a:t> </a:t>
                </a:r>
                <a:r>
                  <a:rPr lang="de-CH" dirty="0" err="1"/>
                  <a:t>represent</a:t>
                </a:r>
                <a:r>
                  <a:rPr lang="de-CH" dirty="0"/>
                  <a:t> K </a:t>
                </a:r>
                <a:r>
                  <a:rPr lang="de-CH" dirty="0" err="1"/>
                  <a:t>distinct</a:t>
                </a:r>
                <a:r>
                  <a:rPr lang="de-CH" dirty="0"/>
                  <a:t> </a:t>
                </a:r>
                <a:r>
                  <a:rPr lang="de-CH" dirty="0" err="1"/>
                  <a:t>combinations</a:t>
                </a:r>
                <a:r>
                  <a:rPr lang="de-CH" dirty="0"/>
                  <a:t>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frequencies</a:t>
                </a:r>
                <a:endParaRPr lang="de-CH" dirty="0">
                  <a:solidFill>
                    <a:schemeClr val="tx1"/>
                  </a:solidFill>
                </a:endParaRPr>
              </a:p>
              <a:p>
                <a:pPr marL="285750" lvl="4" indent="-285750">
                  <a:buFont typeface="Arial" panose="020B0604020202020204" pitchFamily="34" charset="0"/>
                  <a:buChar char="•"/>
                </a:pPr>
                <a:endParaRPr lang="de-CH" b="1" dirty="0"/>
              </a:p>
              <a:p>
                <a:endParaRPr lang="de-CH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F8494250-05C5-CFCA-6EE5-B9F02FC410A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86043" y="943041"/>
                <a:ext cx="8516451" cy="5016234"/>
              </a:xfrm>
              <a:blipFill>
                <a:blip r:embed="rId5"/>
                <a:stretch>
                  <a:fillRect l="-1360" t="-1337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618770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47C90A-9A2C-7FFD-42D0-8FDCE7C08C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1A442B-0AFC-A872-C017-10BD1F3C3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087" y="327660"/>
            <a:ext cx="8516451" cy="670560"/>
          </a:xfrm>
        </p:spPr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en-US" dirty="0"/>
            </a:br>
            <a:r>
              <a:rPr lang="en-US" b="0" dirty="0"/>
              <a:t>Current State of the Fiel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6E51B3E-0312-26C1-9D3B-0B7B6CF6B36E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88087" y="1194066"/>
                <a:ext cx="8516451" cy="5016234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b="1" dirty="0"/>
                  <a:t>Nonlinearity</a:t>
                </a:r>
                <a:r>
                  <a:rPr lang="en-US" dirty="0"/>
                  <a:t> can be described </a:t>
                </a:r>
                <a:r>
                  <a:rPr lang="en-US" b="1" dirty="0"/>
                  <a:t>by density matrices </a:t>
                </a:r>
                <a14:m>
                  <m:oMath xmlns:m="http://schemas.openxmlformats.org/officeDocument/2006/math">
                    <m:r>
                      <a:rPr lang="de-CH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𝜌</m:t>
                    </m:r>
                    <m:r>
                      <a:rPr lang="de-CH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=</m:t>
                    </m:r>
                    <m:d>
                      <m:dPr>
                        <m:begChr m:val="|"/>
                        <m:endChr m:val="|"/>
                        <m:ctrlPr>
                          <a:rPr lang="de-CH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  <m:d>
                          <m:dPr>
                            <m:ctrlPr>
                              <a:rPr lang="de-CH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CH" sz="1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de-CH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&lt;</m:t>
                        </m:r>
                        <m:r>
                          <a:rPr lang="de-CH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  <m:d>
                          <m:dPr>
                            <m:ctrlPr>
                              <a:rPr lang="de-CH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CH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</m:e>
                    </m:d>
                  </m:oMath>
                </a14:m>
                <a:r>
                  <a:rPr lang="en-US" sz="1600" dirty="0"/>
                  <a:t> </a:t>
                </a:r>
                <a:r>
                  <a:rPr lang="en-US" dirty="0"/>
                  <a:t>(state of a system) </a:t>
                </a:r>
                <a:r>
                  <a:rPr lang="en-US" sz="1600" dirty="0"/>
                  <a:t>and their matrix multiplications 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/>
                  <a:t>Represents the probabilistic distribution of the quantum system (pure- and </a:t>
                </a:r>
                <a:r>
                  <a:rPr lang="en-US" sz="1400" dirty="0" err="1"/>
                  <a:t>mixedstates</a:t>
                </a:r>
                <a:r>
                  <a:rPr lang="en-US" sz="1400" dirty="0"/>
                  <a:t>)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 err="1"/>
                  <a:t>ZZFeatureMap</a:t>
                </a:r>
                <a:r>
                  <a:rPr lang="en-US" sz="1400" dirty="0"/>
                  <a:t> uses pure states, although density matrices are not explicitly computed, their influence is still present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Repetition of the feature map (via tensor products) introduces nonlinear terms in the quantum state, akin to the effects described by the density matrix (see more in notes/nonlinearity.md)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The quantum model itself is linear, so the data encoding part plays an important part in introducing nonlinearity</a:t>
                </a:r>
              </a:p>
              <a:p>
                <a:pPr marL="285750" lvl="2" indent="-285750">
                  <a:buFont typeface="Arial" panose="020B0604020202020204" pitchFamily="34" charset="0"/>
                  <a:buChar char="•"/>
                </a:pPr>
                <a:r>
                  <a:rPr lang="en-US" sz="1600" dirty="0"/>
                  <a:t>Data encoding defines the degree and the model defines the coefficients in partial Fourier</a:t>
                </a:r>
                <a:endParaRPr lang="de-CH" sz="1600" dirty="0"/>
              </a:p>
              <a:p>
                <a:pPr marL="537750" lvl="3" indent="-285750">
                  <a:buFont typeface="Arial" panose="020B0604020202020204" pitchFamily="34" charset="0"/>
                  <a:buChar char="•"/>
                </a:pPr>
                <a:r>
                  <a:rPr lang="de-CH" sz="1400" dirty="0" err="1"/>
                  <a:t>Repeating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ncoding</a:t>
                </a:r>
                <a:r>
                  <a:rPr lang="de-CH" sz="1400" dirty="0"/>
                  <a:t> </a:t>
                </a:r>
                <a14:m>
                  <m:oMath xmlns:m="http://schemas.openxmlformats.org/officeDocument/2006/math">
                    <m:r>
                      <a:rPr lang="de-CH" sz="1400" b="0" i="1" smtClean="0">
                        <a:latin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de-CH" sz="1400" dirty="0"/>
                  <a:t> </a:t>
                </a:r>
                <a:r>
                  <a:rPr lang="de-CH" sz="1400" dirty="0" err="1"/>
                  <a:t>time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with</a:t>
                </a:r>
                <a:r>
                  <a:rPr lang="de-CH" sz="1400" dirty="0"/>
                  <a:t> Pauli </a:t>
                </a:r>
                <a:r>
                  <a:rPr lang="de-CH" sz="1400" dirty="0" err="1"/>
                  <a:t>rotation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can</a:t>
                </a:r>
                <a:r>
                  <a:rPr lang="de-CH" sz="1400" dirty="0"/>
                  <a:t> fit a Fourier </a:t>
                </a:r>
                <a:r>
                  <a:rPr lang="de-CH" sz="1400" dirty="0" err="1"/>
                  <a:t>serie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of</a:t>
                </a:r>
                <a:r>
                  <a:rPr lang="de-CH" sz="1400" dirty="0"/>
                  <a:t> </a:t>
                </a:r>
                <a:r>
                  <a:rPr lang="de-CH" sz="1400" dirty="0" err="1"/>
                  <a:t>degree</a:t>
                </a:r>
                <a:r>
                  <a:rPr lang="de-CH" sz="1400" dirty="0"/>
                  <a:t> </a:t>
                </a:r>
                <a14:m>
                  <m:oMath xmlns:m="http://schemas.openxmlformats.org/officeDocument/2006/math">
                    <m:r>
                      <a:rPr lang="de-CH" sz="1400" i="1">
                        <a:latin typeface="Cambria Math" panose="02040503050406030204" pitchFamily="18" charset="0"/>
                      </a:rPr>
                      <m:t>𝑟</m:t>
                    </m:r>
                  </m:oMath>
                </a14:m>
                <a:endParaRPr lang="de-CH" sz="1400" b="0" dirty="0"/>
              </a:p>
              <a:p>
                <a:pPr marL="537750" lvl="3" indent="-28575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Quantum </a:t>
                </a:r>
                <a:r>
                  <a:rPr lang="de-CH" sz="1400" dirty="0" err="1"/>
                  <a:t>model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naturally</a:t>
                </a:r>
                <a:r>
                  <a:rPr lang="de-CH" sz="1400" dirty="0"/>
                  <a:t> </a:t>
                </a:r>
                <a:r>
                  <a:rPr lang="de-CH" sz="1400" dirty="0" err="1"/>
                  <a:t>learn</a:t>
                </a:r>
                <a:r>
                  <a:rPr lang="de-CH" sz="1400" dirty="0"/>
                  <a:t> (</a:t>
                </a:r>
                <a:r>
                  <a:rPr lang="de-CH" sz="1400" dirty="0" err="1"/>
                  <a:t>as</a:t>
                </a:r>
                <a:r>
                  <a:rPr lang="de-CH" sz="1400" dirty="0"/>
                  <a:t> Fourier </a:t>
                </a:r>
                <a:r>
                  <a:rPr lang="de-CH" sz="1400" dirty="0" err="1"/>
                  <a:t>series</a:t>
                </a:r>
                <a:r>
                  <a:rPr lang="de-CH" sz="1400" dirty="0"/>
                  <a:t>) </a:t>
                </a:r>
                <a:r>
                  <a:rPr lang="de-CH" sz="1400" dirty="0" err="1"/>
                  <a:t>periodic</a:t>
                </a:r>
                <a:r>
                  <a:rPr lang="de-CH" sz="1400" dirty="0"/>
                  <a:t> </a:t>
                </a:r>
                <a:r>
                  <a:rPr lang="de-CH" sz="1400" dirty="0" err="1"/>
                  <a:t>functions</a:t>
                </a:r>
                <a:r>
                  <a:rPr lang="de-CH" sz="1400" dirty="0"/>
                  <a:t> in </a:t>
                </a:r>
                <a:r>
                  <a:rPr lang="de-CH" sz="1400" dirty="0" err="1"/>
                  <a:t>th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data</a:t>
                </a:r>
                <a:endParaRPr lang="de-CH" sz="1400" dirty="0"/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 err="1"/>
                  <a:t>Hinting</a:t>
                </a:r>
                <a:r>
                  <a:rPr lang="de-CH" dirty="0"/>
                  <a:t> </a:t>
                </a:r>
                <a:r>
                  <a:rPr lang="de-CH" dirty="0" err="1"/>
                  <a:t>that</a:t>
                </a:r>
                <a:r>
                  <a:rPr lang="de-CH" dirty="0"/>
                  <a:t> time-</a:t>
                </a:r>
                <a:r>
                  <a:rPr lang="de-CH" dirty="0" err="1"/>
                  <a:t>series</a:t>
                </a:r>
                <a:r>
                  <a:rPr lang="de-CH" dirty="0"/>
                  <a:t> </a:t>
                </a:r>
                <a:r>
                  <a:rPr lang="de-CH" dirty="0" err="1"/>
                  <a:t>learning</a:t>
                </a:r>
                <a:r>
                  <a:rPr lang="de-CH" dirty="0"/>
                  <a:t> </a:t>
                </a:r>
                <a:r>
                  <a:rPr lang="de-CH" dirty="0" err="1"/>
                  <a:t>or</a:t>
                </a:r>
                <a:r>
                  <a:rPr lang="de-CH" dirty="0"/>
                  <a:t> </a:t>
                </a:r>
                <a:r>
                  <a:rPr lang="de-CH" dirty="0" err="1"/>
                  <a:t>signal</a:t>
                </a:r>
                <a:r>
                  <a:rPr lang="de-CH" dirty="0"/>
                  <a:t> </a:t>
                </a:r>
                <a:r>
                  <a:rPr lang="de-CH" dirty="0" err="1"/>
                  <a:t>data</a:t>
                </a:r>
                <a:r>
                  <a:rPr lang="de-CH" dirty="0"/>
                  <a:t> </a:t>
                </a:r>
                <a:r>
                  <a:rPr lang="de-CH" dirty="0" err="1"/>
                  <a:t>are</a:t>
                </a:r>
                <a:r>
                  <a:rPr lang="de-CH" dirty="0"/>
                  <a:t> </a:t>
                </a:r>
                <a:r>
                  <a:rPr lang="de-CH" dirty="0" err="1"/>
                  <a:t>suitable</a:t>
                </a:r>
                <a:r>
                  <a:rPr lang="de-CH" dirty="0"/>
                  <a:t> </a:t>
                </a:r>
                <a:r>
                  <a:rPr lang="de-CH" dirty="0" err="1"/>
                  <a:t>applications</a:t>
                </a: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Data </a:t>
                </a:r>
                <a:r>
                  <a:rPr lang="de-CH" dirty="0" err="1"/>
                  <a:t>encoding</a:t>
                </a:r>
                <a:r>
                  <a:rPr lang="de-CH" dirty="0"/>
                  <a:t> </a:t>
                </a:r>
                <a:r>
                  <a:rPr lang="de-CH" dirty="0" err="1"/>
                  <a:t>strategy</a:t>
                </a:r>
                <a:endParaRPr lang="de-CH" dirty="0"/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/>
                  <a:t>Parallel Encoding: Repeat Coding on different subsystems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/>
                  <a:t>Data Reuploading: Repeat encoding multiple times in sequence</a:t>
                </a:r>
              </a:p>
              <a:p>
                <a:pPr marL="285750" lvl="4" indent="-285750">
                  <a:buFont typeface="Arial" panose="020B0604020202020204" pitchFamily="34" charset="0"/>
                  <a:buChar char="•"/>
                </a:pPr>
                <a:endParaRPr lang="de-CH" b="1" dirty="0"/>
              </a:p>
              <a:p>
                <a:endParaRPr lang="de-CH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6E51B3E-0312-26C1-9D3B-0B7B6CF6B36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88087" y="1194066"/>
                <a:ext cx="8516451" cy="5016234"/>
              </a:xfrm>
              <a:blipFill>
                <a:blip r:embed="rId3"/>
                <a:stretch>
                  <a:fillRect l="-1360" t="-1337" r="-1861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70306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EF8D4E-CE59-4B12-43C6-B6BC974E0C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079A7D-9CD6-6743-704B-213391905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en-US" dirty="0"/>
            </a:br>
            <a:r>
              <a:rPr lang="en-US" b="0" dirty="0"/>
              <a:t>Project Motivation &amp; Proces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92420E92-CF7A-2DC2-1FF3-07B84DF9886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688087" y="1110174"/>
                <a:ext cx="8791332" cy="3529419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Finding </a:t>
                </a:r>
                <a:r>
                  <a:rPr lang="de-CH" b="1" dirty="0" err="1"/>
                  <a:t>suitable</a:t>
                </a:r>
                <a:r>
                  <a:rPr lang="de-CH" b="1" dirty="0"/>
                  <a:t> </a:t>
                </a:r>
                <a:r>
                  <a:rPr lang="de-CH" b="1" dirty="0" err="1"/>
                  <a:t>applications</a:t>
                </a:r>
                <a:r>
                  <a:rPr lang="de-CH" dirty="0"/>
                  <a:t> </a:t>
                </a:r>
                <a:r>
                  <a:rPr lang="de-CH" dirty="0" err="1"/>
                  <a:t>for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theoretical</a:t>
                </a:r>
                <a:r>
                  <a:rPr lang="de-CH" dirty="0"/>
                  <a:t> </a:t>
                </a:r>
                <a:r>
                  <a:rPr lang="de-CH" dirty="0" err="1"/>
                  <a:t>analysis</a:t>
                </a:r>
                <a:r>
                  <a:rPr lang="de-CH" dirty="0"/>
                  <a:t> in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papers</a:t>
                </a:r>
                <a:r>
                  <a:rPr lang="de-CH" dirty="0"/>
                  <a:t> (</a:t>
                </a:r>
                <a:r>
                  <a:rPr lang="de-CH" dirty="0" err="1"/>
                  <a:t>slides</a:t>
                </a:r>
                <a:r>
                  <a:rPr lang="de-CH" dirty="0"/>
                  <a:t> </a:t>
                </a:r>
                <a:r>
                  <a:rPr lang="de-CH" dirty="0" err="1"/>
                  <a:t>before</a:t>
                </a:r>
                <a:r>
                  <a:rPr lang="de-CH" dirty="0"/>
                  <a:t>)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This </a:t>
                </a:r>
                <a:r>
                  <a:rPr lang="de-CH" sz="1400" dirty="0" err="1"/>
                  <a:t>could</a:t>
                </a:r>
                <a:r>
                  <a:rPr lang="de-CH" sz="1400" dirty="0"/>
                  <a:t> </a:t>
                </a:r>
                <a:r>
                  <a:rPr lang="de-CH" sz="1400" dirty="0" err="1"/>
                  <a:t>help</a:t>
                </a:r>
                <a:r>
                  <a:rPr lang="de-CH" sz="1400" dirty="0"/>
                  <a:t> in </a:t>
                </a:r>
                <a:r>
                  <a:rPr lang="de-CH" sz="1400" dirty="0" err="1"/>
                  <a:t>the</a:t>
                </a:r>
                <a:r>
                  <a:rPr lang="de-CH" sz="1400" dirty="0"/>
                  <a:t> design </a:t>
                </a:r>
                <a:r>
                  <a:rPr lang="de-CH" sz="1400" dirty="0" err="1"/>
                  <a:t>proces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of</a:t>
                </a:r>
                <a:r>
                  <a:rPr lang="de-CH" sz="1400" dirty="0"/>
                  <a:t> a Quantum Circuit Architecture</a:t>
                </a:r>
              </a:p>
              <a:p>
                <a:pPr marL="537750" lvl="1" indent="-285750">
                  <a:buFont typeface="Arial" panose="020B0604020202020204" pitchFamily="34" charset="0"/>
                  <a:buChar char="•"/>
                </a:pPr>
                <a:r>
                  <a:rPr lang="de-CH" sz="1400" dirty="0" err="1"/>
                  <a:t>Applications</a:t>
                </a:r>
                <a:r>
                  <a:rPr lang="de-CH" sz="1400" dirty="0"/>
                  <a:t>: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Time </a:t>
                </a:r>
                <a:r>
                  <a:rPr lang="de-CH" dirty="0" err="1"/>
                  <a:t>series</a:t>
                </a:r>
                <a:r>
                  <a:rPr lang="de-CH" dirty="0"/>
                  <a:t> </a:t>
                </a:r>
                <a:r>
                  <a:rPr lang="de-CH" dirty="0" err="1"/>
                  <a:t>prediction</a:t>
                </a:r>
                <a:r>
                  <a:rPr lang="de-CH" dirty="0"/>
                  <a:t> (</a:t>
                </a:r>
                <a:r>
                  <a:rPr lang="de-CH" dirty="0" err="1"/>
                  <a:t>Predicting</a:t>
                </a:r>
                <a:r>
                  <a:rPr lang="de-CH" dirty="0"/>
                  <a:t> NASDAQ </a:t>
                </a:r>
                <a:r>
                  <a:rPr lang="de-CH" dirty="0" err="1"/>
                  <a:t>close</a:t>
                </a:r>
                <a:r>
                  <a:rPr lang="de-CH" dirty="0"/>
                  <a:t> </a:t>
                </a:r>
                <a:r>
                  <a:rPr lang="de-CH" dirty="0" err="1"/>
                  <a:t>price</a:t>
                </a:r>
                <a:r>
                  <a:rPr lang="de-CH" dirty="0"/>
                  <a:t>)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Image </a:t>
                </a:r>
                <a:r>
                  <a:rPr lang="de-CH" dirty="0" err="1"/>
                  <a:t>classification</a:t>
                </a:r>
                <a:r>
                  <a:rPr lang="de-CH" dirty="0"/>
                  <a:t> (MNIST </a:t>
                </a:r>
                <a:r>
                  <a:rPr lang="de-CH" dirty="0" err="1"/>
                  <a:t>binary</a:t>
                </a:r>
                <a:r>
                  <a:rPr lang="de-CH" dirty="0"/>
                  <a:t> </a:t>
                </a:r>
                <a:r>
                  <a:rPr lang="de-CH" dirty="0" err="1"/>
                  <a:t>classification</a:t>
                </a:r>
                <a:r>
                  <a:rPr lang="de-CH" dirty="0"/>
                  <a:t> </a:t>
                </a:r>
                <a:r>
                  <a:rPr lang="de-CH" dirty="0" err="1"/>
                  <a:t>between</a:t>
                </a:r>
                <a:r>
                  <a:rPr lang="de-CH" dirty="0"/>
                  <a:t> ‘4’ and ‘9’)</a:t>
                </a:r>
              </a:p>
              <a:p>
                <a:pPr marL="789750" lvl="5" indent="-285750">
                  <a:buFont typeface="Arial" panose="020B0604020202020204" pitchFamily="34" charset="0"/>
                  <a:buChar char="•"/>
                </a:pPr>
                <a:r>
                  <a:rPr lang="de-CH" dirty="0" err="1"/>
                  <a:t>Tabular</a:t>
                </a:r>
                <a:r>
                  <a:rPr lang="de-CH" dirty="0"/>
                  <a:t> </a:t>
                </a:r>
                <a:r>
                  <a:rPr lang="de-CH" dirty="0" err="1"/>
                  <a:t>data</a:t>
                </a:r>
                <a:r>
                  <a:rPr lang="de-CH" dirty="0"/>
                  <a:t> </a:t>
                </a:r>
                <a:r>
                  <a:rPr lang="de-CH" dirty="0" err="1"/>
                  <a:t>analysis</a:t>
                </a:r>
                <a:r>
                  <a:rPr lang="de-CH" dirty="0"/>
                  <a:t> (</a:t>
                </a:r>
                <a:r>
                  <a:rPr lang="de-CH" dirty="0" err="1"/>
                  <a:t>Wine</a:t>
                </a:r>
                <a:r>
                  <a:rPr lang="de-CH" dirty="0"/>
                  <a:t> </a:t>
                </a:r>
                <a:r>
                  <a:rPr lang="de-CH" dirty="0" err="1"/>
                  <a:t>quality</a:t>
                </a:r>
                <a:r>
                  <a:rPr lang="de-CH" dirty="0"/>
                  <a:t> </a:t>
                </a:r>
                <a:r>
                  <a:rPr lang="de-CH" dirty="0" err="1"/>
                  <a:t>with</a:t>
                </a:r>
                <a:r>
                  <a:rPr lang="de-CH" dirty="0"/>
                  <a:t> 2 </a:t>
                </a:r>
                <a:r>
                  <a:rPr lang="de-CH" dirty="0" err="1"/>
                  <a:t>features</a:t>
                </a:r>
                <a:r>
                  <a:rPr lang="de-CH" dirty="0"/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 err="1"/>
                  <a:t>Explore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balance</a:t>
                </a:r>
                <a:r>
                  <a:rPr lang="de-CH" dirty="0"/>
                  <a:t> </a:t>
                </a:r>
                <a:r>
                  <a:rPr lang="de-CH" dirty="0" err="1"/>
                  <a:t>between</a:t>
                </a:r>
                <a:r>
                  <a:rPr lang="de-CH" dirty="0"/>
                  <a:t> </a:t>
                </a:r>
                <a:r>
                  <a:rPr lang="de-CH" dirty="0" err="1"/>
                  <a:t>accuracy</a:t>
                </a:r>
                <a:r>
                  <a:rPr lang="de-CH" dirty="0"/>
                  <a:t> and </a:t>
                </a:r>
                <a:r>
                  <a:rPr lang="de-CH" dirty="0" err="1"/>
                  <a:t>complexity</a:t>
                </a:r>
                <a:r>
                  <a:rPr lang="de-CH" dirty="0"/>
                  <a:t> in </a:t>
                </a:r>
                <a:r>
                  <a:rPr lang="de-CH" dirty="0" err="1"/>
                  <a:t>quantum</a:t>
                </a:r>
                <a:r>
                  <a:rPr lang="de-CH" dirty="0"/>
                  <a:t> </a:t>
                </a:r>
                <a:r>
                  <a:rPr lang="de-CH" dirty="0" err="1"/>
                  <a:t>models</a:t>
                </a:r>
                <a:endParaRPr lang="en-US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 err="1"/>
                  <a:t>Addressing</a:t>
                </a:r>
                <a:r>
                  <a:rPr lang="de-CH" dirty="0"/>
                  <a:t> </a:t>
                </a:r>
                <a:r>
                  <a:rPr lang="de-CH" dirty="0" err="1"/>
                  <a:t>limitations</a:t>
                </a:r>
                <a:r>
                  <a:rPr lang="de-CH" dirty="0"/>
                  <a:t> in </a:t>
                </a:r>
                <a:r>
                  <a:rPr lang="de-CH" b="1" dirty="0" err="1"/>
                  <a:t>encoding</a:t>
                </a:r>
                <a:r>
                  <a:rPr lang="de-CH" b="1" dirty="0"/>
                  <a:t> </a:t>
                </a:r>
                <a:r>
                  <a:rPr lang="de-CH" b="1" dirty="0" err="1"/>
                  <a:t>periodic</a:t>
                </a:r>
                <a:r>
                  <a:rPr lang="de-CH" b="1" dirty="0"/>
                  <a:t> and non-</a:t>
                </a:r>
                <a:r>
                  <a:rPr lang="de-CH" b="1" dirty="0" err="1"/>
                  <a:t>periodic</a:t>
                </a:r>
                <a:r>
                  <a:rPr lang="de-CH" b="1" dirty="0"/>
                  <a:t> </a:t>
                </a:r>
                <a:r>
                  <a:rPr lang="de-CH" dirty="0" err="1"/>
                  <a:t>data</a:t>
                </a: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CH" dirty="0"/>
                  <a:t>Project plan:</a:t>
                </a:r>
              </a:p>
              <a:p>
                <a:pPr lvl="5">
                  <a:buFont typeface="Arial" panose="020B0604020202020204" pitchFamily="34" charset="0"/>
                  <a:buChar char="•"/>
                </a:pPr>
                <a:r>
                  <a:rPr lang="de-CH" sz="1400" dirty="0" err="1"/>
                  <a:t>For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ach</a:t>
                </a:r>
                <a:r>
                  <a:rPr lang="de-CH" sz="1400" dirty="0"/>
                  <a:t> </a:t>
                </a:r>
                <a:r>
                  <a:rPr lang="de-CH" sz="1400" dirty="0" err="1"/>
                  <a:t>dataset</a:t>
                </a:r>
                <a:r>
                  <a:rPr lang="de-CH" sz="1400" dirty="0"/>
                  <a:t>:</a:t>
                </a:r>
              </a:p>
              <a:p>
                <a:pPr marL="846900" lvl="5" indent="-342900">
                  <a:buAutoNum type="arabicPeriod"/>
                </a:pPr>
                <a:r>
                  <a:rPr lang="de-CH" dirty="0" err="1"/>
                  <a:t>Preprocess</a:t>
                </a:r>
                <a:r>
                  <a:rPr lang="de-CH" dirty="0"/>
                  <a:t> </a:t>
                </a:r>
                <a:r>
                  <a:rPr lang="de-CH" dirty="0" err="1"/>
                  <a:t>data</a:t>
                </a:r>
                <a:r>
                  <a:rPr lang="de-CH" dirty="0"/>
                  <a:t> (</a:t>
                </a:r>
                <a:r>
                  <a:rPr lang="de-CH" dirty="0" err="1"/>
                  <a:t>scaling</a:t>
                </a:r>
                <a:r>
                  <a:rPr lang="de-CH" dirty="0"/>
                  <a:t> </a:t>
                </a:r>
                <a:r>
                  <a:rPr lang="de-CH" dirty="0" err="1"/>
                  <a:t>to</a:t>
                </a:r>
                <a:r>
                  <a:rPr lang="de-CH" dirty="0"/>
                  <a:t>  </a:t>
                </a:r>
                <a14:m>
                  <m:oMath xmlns:m="http://schemas.openxmlformats.org/officeDocument/2006/math">
                    <m:r>
                      <a:rPr lang="de-CH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, 2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𝜋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de-CH" dirty="0"/>
                  <a:t> etc.)</a:t>
                </a:r>
              </a:p>
              <a:p>
                <a:pPr marL="846900" lvl="5" indent="-342900">
                  <a:buAutoNum type="arabicPeriod"/>
                </a:pPr>
                <a:r>
                  <a:rPr lang="de-CH" dirty="0" err="1"/>
                  <a:t>Developing</a:t>
                </a:r>
                <a:r>
                  <a:rPr lang="de-CH" dirty="0"/>
                  <a:t> a </a:t>
                </a:r>
                <a:r>
                  <a:rPr lang="de-CH" dirty="0" err="1"/>
                  <a:t>quantum</a:t>
                </a:r>
                <a:r>
                  <a:rPr lang="de-CH" dirty="0"/>
                  <a:t> </a:t>
                </a:r>
                <a:r>
                  <a:rPr lang="de-CH" dirty="0" err="1"/>
                  <a:t>model</a:t>
                </a:r>
                <a:r>
                  <a:rPr lang="de-CH" dirty="0"/>
                  <a:t> </a:t>
                </a:r>
                <a:r>
                  <a:rPr lang="de-CH" dirty="0" err="1"/>
                  <a:t>using</a:t>
                </a:r>
                <a:r>
                  <a:rPr lang="de-CH" dirty="0"/>
                  <a:t> a </a:t>
                </a:r>
                <a:r>
                  <a:rPr lang="de-CH" dirty="0" err="1"/>
                  <a:t>basic</a:t>
                </a:r>
                <a:r>
                  <a:rPr lang="de-CH" dirty="0"/>
                  <a:t> </a:t>
                </a:r>
                <a:r>
                  <a:rPr lang="de-CH" dirty="0" err="1"/>
                  <a:t>encoding</a:t>
                </a:r>
                <a:r>
                  <a:rPr lang="de-CH" dirty="0"/>
                  <a:t> </a:t>
                </a:r>
                <a:r>
                  <a:rPr lang="de-CH" dirty="0" err="1"/>
                  <a:t>method</a:t>
                </a:r>
                <a:endParaRPr lang="de-CH" dirty="0"/>
              </a:p>
              <a:p>
                <a:pPr marL="846900" lvl="5" indent="-342900">
                  <a:buAutoNum type="arabicPeriod"/>
                </a:pPr>
                <a:r>
                  <a:rPr lang="de-CH" dirty="0"/>
                  <a:t>Test different </a:t>
                </a:r>
                <a:r>
                  <a:rPr lang="de-CH" dirty="0" err="1"/>
                  <a:t>repetitions</a:t>
                </a:r>
                <a:r>
                  <a:rPr lang="de-CH" dirty="0"/>
                  <a:t> </a:t>
                </a:r>
                <a:r>
                  <a:rPr lang="de-CH" dirty="0" err="1"/>
                  <a:t>rates</a:t>
                </a:r>
                <a:r>
                  <a:rPr lang="de-CH" dirty="0"/>
                  <a:t> </a:t>
                </a:r>
                <a14:m>
                  <m:oMath xmlns:m="http://schemas.openxmlformats.org/officeDocument/2006/math">
                    <m:r>
                      <a:rPr lang="de-CH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</m:t>
                    </m:r>
                    <m:r>
                      <a:rPr lang="de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3,5,7…</m:t>
                        </m:r>
                      </m:e>
                    </m:d>
                  </m:oMath>
                </a14:m>
                <a:endParaRPr lang="de-CH" b="0" dirty="0">
                  <a:ea typeface="Cambria Math" panose="02040503050406030204" pitchFamily="18" charset="0"/>
                </a:endParaRPr>
              </a:p>
              <a:p>
                <a:pPr marL="846900" lvl="5" indent="-342900">
                  <a:buAutoNum type="arabicPeriod"/>
                </a:pPr>
                <a:r>
                  <a:rPr lang="de-CH" dirty="0"/>
                  <a:t>Analyze </a:t>
                </a:r>
                <a:r>
                  <a:rPr lang="de-CH" dirty="0" err="1"/>
                  <a:t>results</a:t>
                </a:r>
                <a:r>
                  <a:rPr lang="de-CH" dirty="0"/>
                  <a:t> (</a:t>
                </a:r>
                <a:r>
                  <a:rPr lang="de-CH" dirty="0" err="1"/>
                  <a:t>measure</a:t>
                </a:r>
                <a:r>
                  <a:rPr lang="de-CH" dirty="0"/>
                  <a:t> </a:t>
                </a:r>
                <a:r>
                  <a:rPr lang="de-CH" dirty="0" err="1"/>
                  <a:t>performance</a:t>
                </a:r>
                <a:r>
                  <a:rPr lang="de-CH" dirty="0"/>
                  <a:t> / </a:t>
                </a:r>
                <a:r>
                  <a:rPr lang="de-CH" dirty="0" err="1"/>
                  <a:t>accuracy</a:t>
                </a:r>
                <a:r>
                  <a:rPr lang="de-CH" dirty="0"/>
                  <a:t>)</a:t>
                </a:r>
              </a:p>
              <a:p>
                <a:pPr marL="846900" lvl="5" indent="-342900">
                  <a:buAutoNum type="arabicPeriod"/>
                </a:pPr>
                <a:r>
                  <a:rPr lang="de-CH" dirty="0"/>
                  <a:t>Looking </a:t>
                </a:r>
                <a:r>
                  <a:rPr lang="de-CH" dirty="0" err="1"/>
                  <a:t>how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keypoints</a:t>
                </a:r>
                <a:r>
                  <a:rPr lang="de-CH" dirty="0"/>
                  <a:t> </a:t>
                </a:r>
                <a:r>
                  <a:rPr lang="de-CH" dirty="0" err="1"/>
                  <a:t>from</a:t>
                </a:r>
                <a:r>
                  <a:rPr lang="de-CH" dirty="0"/>
                  <a:t>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papers</a:t>
                </a:r>
                <a:r>
                  <a:rPr lang="de-CH" dirty="0"/>
                  <a:t> </a:t>
                </a:r>
                <a:r>
                  <a:rPr lang="de-CH" dirty="0" err="1"/>
                  <a:t>can</a:t>
                </a:r>
                <a:r>
                  <a:rPr lang="de-CH" dirty="0"/>
                  <a:t> </a:t>
                </a:r>
                <a:r>
                  <a:rPr lang="de-CH" dirty="0" err="1"/>
                  <a:t>be</a:t>
                </a:r>
                <a:r>
                  <a:rPr lang="de-CH" dirty="0"/>
                  <a:t> </a:t>
                </a:r>
                <a:r>
                  <a:rPr lang="de-CH" dirty="0" err="1"/>
                  <a:t>used</a:t>
                </a:r>
                <a:r>
                  <a:rPr lang="de-CH" dirty="0"/>
                  <a:t> on </a:t>
                </a:r>
                <a:r>
                  <a:rPr lang="de-CH" dirty="0" err="1"/>
                  <a:t>the</a:t>
                </a:r>
                <a:r>
                  <a:rPr lang="de-CH" dirty="0"/>
                  <a:t> </a:t>
                </a:r>
                <a:r>
                  <a:rPr lang="de-CH" dirty="0" err="1"/>
                  <a:t>certain</a:t>
                </a:r>
                <a:r>
                  <a:rPr lang="de-CH" dirty="0"/>
                  <a:t> type </a:t>
                </a:r>
                <a:r>
                  <a:rPr lang="de-CH" dirty="0" err="1"/>
                  <a:t>of</a:t>
                </a:r>
                <a:r>
                  <a:rPr lang="de-CH" dirty="0"/>
                  <a:t> </a:t>
                </a:r>
                <a:r>
                  <a:rPr lang="de-CH" dirty="0" err="1"/>
                  <a:t>data</a:t>
                </a:r>
                <a:endParaRPr lang="de-CH" dirty="0"/>
              </a:p>
              <a:p>
                <a:pPr marL="594900" lvl="3" indent="-34290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This </a:t>
                </a:r>
                <a:r>
                  <a:rPr lang="de-CH" sz="1400" dirty="0" err="1"/>
                  <a:t>project</a:t>
                </a:r>
                <a:r>
                  <a:rPr lang="de-CH" sz="1400" dirty="0"/>
                  <a:t> just </a:t>
                </a:r>
                <a:r>
                  <a:rPr lang="de-CH" sz="1400" dirty="0" err="1"/>
                  <a:t>focuses</a:t>
                </a:r>
                <a:r>
                  <a:rPr lang="de-CH" sz="1400" dirty="0"/>
                  <a:t> on linear- and </a:t>
                </a:r>
                <a:r>
                  <a:rPr lang="de-CH" sz="1400" dirty="0" err="1"/>
                  <a:t>arcsin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ncoding</a:t>
                </a:r>
                <a:r>
                  <a:rPr lang="de-CH" sz="1400" dirty="0"/>
                  <a:t> (</a:t>
                </a:r>
                <a:r>
                  <a:rPr lang="de-CH" sz="1400" dirty="0" err="1"/>
                  <a:t>a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descirbed</a:t>
                </a:r>
                <a:r>
                  <a:rPr lang="de-CH" sz="1400" dirty="0"/>
                  <a:t> in </a:t>
                </a:r>
                <a:r>
                  <a:rPr lang="de-CH" sz="1400" dirty="0" err="1"/>
                  <a:t>th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papers</a:t>
                </a:r>
                <a:r>
                  <a:rPr lang="de-CH" sz="1400" dirty="0"/>
                  <a:t>)</a:t>
                </a:r>
              </a:p>
              <a:p>
                <a:pPr marL="594900" lvl="3" indent="-342900">
                  <a:buFont typeface="Arial" panose="020B0604020202020204" pitchFamily="34" charset="0"/>
                  <a:buChar char="•"/>
                </a:pPr>
                <a:r>
                  <a:rPr lang="de-CH" sz="1400" dirty="0"/>
                  <a:t>Also </a:t>
                </a:r>
                <a:r>
                  <a:rPr lang="de-CH" sz="1400" dirty="0" err="1"/>
                  <a:t>the</a:t>
                </a:r>
                <a:r>
                  <a:rPr lang="de-CH" sz="1400" dirty="0"/>
                  <a:t> </a:t>
                </a:r>
                <a:r>
                  <a:rPr lang="de-CH" sz="1400" dirty="0" err="1"/>
                  <a:t>fact</a:t>
                </a:r>
                <a:r>
                  <a:rPr lang="de-CH" sz="1400" dirty="0"/>
                  <a:t> </a:t>
                </a:r>
                <a:r>
                  <a:rPr lang="de-CH" sz="1400" dirty="0" err="1"/>
                  <a:t>that</a:t>
                </a:r>
                <a:r>
                  <a:rPr lang="de-CH" sz="1400" dirty="0"/>
                  <a:t> </a:t>
                </a:r>
                <a:r>
                  <a:rPr lang="de-CH" sz="1400" dirty="0" err="1"/>
                  <a:t>we</a:t>
                </a:r>
                <a:r>
                  <a:rPr lang="de-CH" sz="1400" dirty="0"/>
                  <a:t> also </a:t>
                </a:r>
                <a:r>
                  <a:rPr lang="de-CH" sz="1400" dirty="0" err="1"/>
                  <a:t>can</a:t>
                </a:r>
                <a:r>
                  <a:rPr lang="de-CH" sz="1400" dirty="0"/>
                  <a:t> </a:t>
                </a:r>
                <a:r>
                  <a:rPr lang="de-CH" sz="1400" dirty="0" err="1"/>
                  <a:t>repeat</a:t>
                </a:r>
                <a:r>
                  <a:rPr lang="de-CH" sz="1400" dirty="0"/>
                  <a:t> </a:t>
                </a:r>
                <a:r>
                  <a:rPr lang="de-CH" sz="1400" dirty="0" err="1"/>
                  <a:t>quantum</a:t>
                </a:r>
                <a:r>
                  <a:rPr lang="de-CH" sz="1400" dirty="0"/>
                  <a:t> </a:t>
                </a:r>
                <a:r>
                  <a:rPr lang="de-CH" sz="1400" dirty="0" err="1"/>
                  <a:t>ansatz</a:t>
                </a:r>
                <a:r>
                  <a:rPr lang="de-CH" sz="1400" dirty="0"/>
                  <a:t> </a:t>
                </a:r>
                <a:r>
                  <a:rPr lang="de-CH" sz="1400" dirty="0" err="1"/>
                  <a:t>gets</a:t>
                </a:r>
                <a:r>
                  <a:rPr lang="de-CH" sz="1400" dirty="0"/>
                  <a:t> </a:t>
                </a:r>
                <a:r>
                  <a:rPr lang="de-CH" sz="1400" dirty="0" err="1"/>
                  <a:t>ignored</a:t>
                </a:r>
                <a:r>
                  <a:rPr lang="de-CH" sz="1400" dirty="0"/>
                  <a:t> (</a:t>
                </a:r>
                <a:r>
                  <a:rPr lang="de-CH" sz="1400" dirty="0" err="1"/>
                  <a:t>main</a:t>
                </a:r>
                <a:r>
                  <a:rPr lang="de-CH" sz="1400" dirty="0"/>
                  <a:t> </a:t>
                </a:r>
                <a:r>
                  <a:rPr lang="de-CH" sz="1400" dirty="0" err="1"/>
                  <a:t>focus</a:t>
                </a:r>
                <a:r>
                  <a:rPr lang="de-CH" sz="1400" dirty="0"/>
                  <a:t> on </a:t>
                </a:r>
                <a:r>
                  <a:rPr lang="de-CH" sz="1400" dirty="0" err="1"/>
                  <a:t>data</a:t>
                </a:r>
                <a:r>
                  <a:rPr lang="de-CH" sz="1400" dirty="0"/>
                  <a:t> </a:t>
                </a:r>
                <a:r>
                  <a:rPr lang="de-CH" sz="1400" dirty="0" err="1"/>
                  <a:t>encoding</a:t>
                </a:r>
                <a:r>
                  <a:rPr lang="de-CH" sz="1400" dirty="0"/>
                  <a:t>)</a:t>
                </a:r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92420E92-CF7A-2DC2-1FF3-07B84DF9886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688087" y="1110174"/>
                <a:ext cx="8791332" cy="3529419"/>
              </a:xfrm>
              <a:blipFill>
                <a:blip r:embed="rId3"/>
                <a:stretch>
                  <a:fillRect l="-1318" t="-1727" b="-28325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01707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E77F0-2EE7-7E98-D31A-B5634E142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9CDE81-8793-CC56-482D-CC3149B90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en-US" dirty="0"/>
            </a:br>
            <a:r>
              <a:rPr lang="en-US" b="0" dirty="0"/>
              <a:t>Quantum Circuit Architectures Overvie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58D67E-4168-29D5-FD15-430A02113A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1209565"/>
            <a:ext cx="8791332" cy="3529419"/>
          </a:xfrm>
        </p:spPr>
        <p:txBody>
          <a:bodyPr/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de-CH" sz="1600" b="1" dirty="0"/>
              <a:t>Time </a:t>
            </a:r>
            <a:r>
              <a:rPr lang="de-CH" sz="1600" b="1" dirty="0" err="1"/>
              <a:t>series</a:t>
            </a:r>
            <a:r>
              <a:rPr lang="de-CH" sz="1600" b="1" dirty="0"/>
              <a:t> </a:t>
            </a:r>
            <a:r>
              <a:rPr lang="de-CH" sz="1600" b="1" dirty="0" err="1"/>
              <a:t>data</a:t>
            </a:r>
            <a:r>
              <a:rPr lang="de-CH" sz="1600" b="1" dirty="0"/>
              <a:t> (NASDAQ Close </a:t>
            </a:r>
            <a:r>
              <a:rPr lang="de-CH" sz="1600" b="1" dirty="0" err="1"/>
              <a:t>price</a:t>
            </a:r>
            <a:r>
              <a:rPr lang="de-CH" sz="1600" b="1" dirty="0"/>
              <a:t>)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de-CH" sz="1400" dirty="0"/>
              <a:t>Single </a:t>
            </a:r>
            <a:r>
              <a:rPr lang="de-CH" sz="1400" dirty="0" err="1"/>
              <a:t>qubit</a:t>
            </a:r>
            <a:r>
              <a:rPr lang="de-CH" sz="1400" dirty="0"/>
              <a:t> (</a:t>
            </a:r>
            <a:r>
              <a:rPr lang="de-CH" sz="1400" dirty="0" err="1"/>
              <a:t>for</a:t>
            </a:r>
            <a:r>
              <a:rPr lang="de-CH" sz="1400" dirty="0"/>
              <a:t> </a:t>
            </a:r>
            <a:r>
              <a:rPr lang="de-CH" sz="1400" dirty="0" err="1"/>
              <a:t>simplicity</a:t>
            </a:r>
            <a:r>
              <a:rPr lang="de-CH" sz="1400" dirty="0"/>
              <a:t>; extensible </a:t>
            </a:r>
            <a:r>
              <a:rPr lang="de-CH" sz="1400" dirty="0" err="1"/>
              <a:t>with</a:t>
            </a:r>
            <a:r>
              <a:rPr lang="de-CH" sz="1400" dirty="0"/>
              <a:t> </a:t>
            </a:r>
            <a:r>
              <a:rPr lang="de-CH" sz="1400" dirty="0" err="1"/>
              <a:t>other</a:t>
            </a:r>
            <a:r>
              <a:rPr lang="de-CH" sz="1400" dirty="0"/>
              <a:t> </a:t>
            </a:r>
            <a:r>
              <a:rPr lang="de-CH" sz="1400" dirty="0" err="1"/>
              <a:t>features</a:t>
            </a:r>
            <a:r>
              <a:rPr lang="de-CH" sz="1400" dirty="0"/>
              <a:t> like </a:t>
            </a:r>
            <a:r>
              <a:rPr lang="de-CH" sz="1400" dirty="0" err="1"/>
              <a:t>moving</a:t>
            </a:r>
            <a:r>
              <a:rPr lang="de-CH" sz="1400" dirty="0"/>
              <a:t> </a:t>
            </a:r>
            <a:r>
              <a:rPr lang="de-CH" sz="1400" dirty="0" err="1"/>
              <a:t>window</a:t>
            </a:r>
            <a:r>
              <a:rPr lang="de-CH" sz="1400" dirty="0"/>
              <a:t> </a:t>
            </a:r>
            <a:r>
              <a:rPr lang="de-CH" sz="1400" dirty="0" err="1"/>
              <a:t>avg</a:t>
            </a:r>
            <a:r>
              <a:rPr lang="de-CH" sz="1400" dirty="0"/>
              <a:t> etc.)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Uses</a:t>
            </a:r>
            <a:r>
              <a:rPr lang="de-CH" sz="1400" dirty="0"/>
              <a:t> an </a:t>
            </a:r>
            <a:r>
              <a:rPr lang="de-CH" sz="1400" dirty="0" err="1"/>
              <a:t>EstimatorQNN</a:t>
            </a:r>
            <a:r>
              <a:rPr lang="de-CH" sz="1400" dirty="0"/>
              <a:t> (NN Regressor); </a:t>
            </a:r>
            <a:r>
              <a:rPr lang="de-CH" sz="1400" dirty="0" err="1"/>
              <a:t>Trying</a:t>
            </a:r>
            <a:r>
              <a:rPr lang="de-CH" sz="1400" dirty="0"/>
              <a:t> </a:t>
            </a:r>
            <a:r>
              <a:rPr lang="de-CH" sz="1400" dirty="0" err="1"/>
              <a:t>both</a:t>
            </a:r>
            <a:r>
              <a:rPr lang="de-CH" sz="1400" dirty="0"/>
              <a:t> </a:t>
            </a:r>
            <a:r>
              <a:rPr lang="de-CH" sz="1400" dirty="0" err="1"/>
              <a:t>serial</a:t>
            </a:r>
            <a:r>
              <a:rPr lang="de-CH" sz="1400" dirty="0"/>
              <a:t> and parallel </a:t>
            </a:r>
            <a:r>
              <a:rPr lang="de-CH" sz="1400" dirty="0" err="1"/>
              <a:t>encoding</a:t>
            </a:r>
            <a:r>
              <a:rPr lang="de-CH" sz="1400" dirty="0"/>
              <a:t> </a:t>
            </a:r>
            <a:r>
              <a:rPr lang="de-CH" sz="1400" dirty="0" err="1"/>
              <a:t>methods</a:t>
            </a:r>
            <a:r>
              <a:rPr lang="de-CH" sz="1400" dirty="0"/>
              <a:t> and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encoding</a:t>
            </a:r>
            <a:r>
              <a:rPr lang="de-CH" sz="1400" dirty="0"/>
              <a:t>/</a:t>
            </a:r>
            <a:r>
              <a:rPr lang="de-CH" sz="1400" dirty="0" err="1"/>
              <a:t>ansatz</a:t>
            </a:r>
            <a:r>
              <a:rPr lang="de-CH" sz="1400" dirty="0"/>
              <a:t> </a:t>
            </a:r>
            <a:r>
              <a:rPr lang="de-CH" sz="1400" dirty="0" err="1"/>
              <a:t>scheme</a:t>
            </a:r>
            <a:r>
              <a:rPr lang="de-CH" sz="1400" dirty="0"/>
              <a:t> 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endParaRPr lang="de-CH" sz="1400" dirty="0"/>
          </a:p>
          <a:p>
            <a:pPr marL="537750" lvl="3" indent="-285750">
              <a:buFont typeface="Arial" panose="020B0604020202020204" pitchFamily="34" charset="0"/>
              <a:buChar char="•"/>
            </a:pPr>
            <a:endParaRPr lang="de-CH" sz="1400" dirty="0"/>
          </a:p>
          <a:p>
            <a:pPr marL="537750" lvl="3" indent="-285750">
              <a:buFont typeface="Arial" panose="020B0604020202020204" pitchFamily="34" charset="0"/>
              <a:buChar char="•"/>
            </a:pPr>
            <a:endParaRPr lang="de-CH" sz="1400" dirty="0"/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de-CH" sz="1600" b="1" dirty="0"/>
              <a:t>Image </a:t>
            </a:r>
            <a:r>
              <a:rPr lang="de-CH" sz="1600" b="1" dirty="0" err="1"/>
              <a:t>data</a:t>
            </a:r>
            <a:r>
              <a:rPr lang="de-CH" sz="1600" b="1" dirty="0"/>
              <a:t> (MNIST </a:t>
            </a:r>
            <a:r>
              <a:rPr lang="de-CH" sz="1600" b="1" dirty="0" err="1"/>
              <a:t>classification</a:t>
            </a:r>
            <a:r>
              <a:rPr lang="de-CH" sz="1600" b="1" dirty="0"/>
              <a:t>)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de-CH" sz="1400" dirty="0"/>
              <a:t>a QSVM </a:t>
            </a:r>
            <a:r>
              <a:rPr lang="de-CH" sz="1400" dirty="0" err="1"/>
              <a:t>for</a:t>
            </a:r>
            <a:r>
              <a:rPr lang="de-CH" sz="1400" dirty="0"/>
              <a:t> </a:t>
            </a:r>
            <a:r>
              <a:rPr lang="de-CH" sz="1400" dirty="0" err="1"/>
              <a:t>binary</a:t>
            </a:r>
            <a:r>
              <a:rPr lang="de-CH" sz="1400" dirty="0"/>
              <a:t> </a:t>
            </a:r>
            <a:r>
              <a:rPr lang="de-CH" sz="1400" dirty="0" err="1"/>
              <a:t>classification</a:t>
            </a:r>
            <a:r>
              <a:rPr lang="de-CH" sz="1400" dirty="0"/>
              <a:t> </a:t>
            </a:r>
            <a:r>
              <a:rPr lang="de-CH" sz="1400" dirty="0" err="1"/>
              <a:t>between</a:t>
            </a:r>
            <a:r>
              <a:rPr lang="de-CH" sz="1400" dirty="0"/>
              <a:t> </a:t>
            </a:r>
            <a:r>
              <a:rPr lang="de-CH" sz="1400" dirty="0" err="1"/>
              <a:t>value</a:t>
            </a:r>
            <a:r>
              <a:rPr lang="de-CH" sz="1400" dirty="0"/>
              <a:t> 4. and 5.</a:t>
            </a:r>
          </a:p>
          <a:p>
            <a:pPr marL="537750" lvl="3" indent="-285750">
              <a:buFont typeface="Arial" panose="020B0604020202020204" pitchFamily="34" charset="0"/>
              <a:buChar char="•"/>
            </a:pPr>
            <a:r>
              <a:rPr lang="de-CH" sz="1400" dirty="0"/>
              <a:t>Also </a:t>
            </a:r>
            <a:r>
              <a:rPr lang="de-CH" sz="1400" dirty="0" err="1"/>
              <a:t>using</a:t>
            </a:r>
            <a:r>
              <a:rPr lang="de-CH" sz="1400" dirty="0"/>
              <a:t> different feature </a:t>
            </a:r>
            <a:r>
              <a:rPr lang="de-CH" sz="1400" dirty="0" err="1"/>
              <a:t>maps</a:t>
            </a:r>
            <a:r>
              <a:rPr lang="de-CH" sz="1400" dirty="0"/>
              <a:t> and </a:t>
            </a:r>
            <a:r>
              <a:rPr lang="de-CH" sz="1400" dirty="0" err="1"/>
              <a:t>quantum</a:t>
            </a:r>
            <a:r>
              <a:rPr lang="de-CH" sz="1400" dirty="0"/>
              <a:t> </a:t>
            </a:r>
            <a:r>
              <a:rPr lang="de-CH" sz="1400" dirty="0" err="1"/>
              <a:t>kernel</a:t>
            </a:r>
            <a:endParaRPr lang="de-CH" sz="1400" b="1" dirty="0"/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de-CH" sz="1600" b="1" dirty="0" err="1"/>
              <a:t>Tabular</a:t>
            </a:r>
            <a:r>
              <a:rPr lang="de-CH" sz="1600" b="1" dirty="0"/>
              <a:t> </a:t>
            </a:r>
            <a:r>
              <a:rPr lang="de-CH" sz="1600" b="1" dirty="0" err="1"/>
              <a:t>data</a:t>
            </a:r>
            <a:r>
              <a:rPr lang="de-CH" sz="1600" b="1" dirty="0"/>
              <a:t> (</a:t>
            </a:r>
            <a:r>
              <a:rPr lang="de-CH" sz="1600" b="1" dirty="0" err="1"/>
              <a:t>Wine</a:t>
            </a:r>
            <a:r>
              <a:rPr lang="de-CH" sz="1600" b="1" dirty="0"/>
              <a:t> </a:t>
            </a:r>
            <a:r>
              <a:rPr lang="de-CH" sz="1600" b="1" dirty="0" err="1"/>
              <a:t>quality</a:t>
            </a:r>
            <a:r>
              <a:rPr lang="de-CH" sz="1600" b="1" dirty="0"/>
              <a:t>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Using</a:t>
            </a:r>
            <a:r>
              <a:rPr lang="de-CH" sz="1400" dirty="0"/>
              <a:t> QSVM </a:t>
            </a:r>
            <a:r>
              <a:rPr lang="de-CH" sz="1400" dirty="0" err="1"/>
              <a:t>with</a:t>
            </a:r>
            <a:r>
              <a:rPr lang="de-CH" sz="1400" dirty="0"/>
              <a:t> </a:t>
            </a:r>
            <a:r>
              <a:rPr lang="de-CH" sz="1400" dirty="0" err="1"/>
              <a:t>multiclasses</a:t>
            </a:r>
            <a:r>
              <a:rPr lang="de-CH" sz="1400" dirty="0"/>
              <a:t>: </a:t>
            </a:r>
            <a:r>
              <a:rPr lang="de-CH" sz="1400" dirty="0" err="1"/>
              <a:t>Using</a:t>
            </a:r>
            <a:r>
              <a:rPr lang="de-CH" sz="1400" dirty="0"/>
              <a:t> </a:t>
            </a:r>
            <a:r>
              <a:rPr lang="de-CH" sz="1400" dirty="0" err="1"/>
              <a:t>FidelityQuantumKernel</a:t>
            </a:r>
            <a:r>
              <a:rPr lang="de-CH" sz="1400" dirty="0"/>
              <a:t> and </a:t>
            </a:r>
            <a:r>
              <a:rPr lang="de-CH" sz="1400" dirty="0" err="1"/>
              <a:t>ZZFeatureMap</a:t>
            </a:r>
            <a:r>
              <a:rPr lang="de-CH" sz="1400" dirty="0"/>
              <a:t> (</a:t>
            </a:r>
            <a:r>
              <a:rPr lang="de-CH" sz="1400" dirty="0" err="1"/>
              <a:t>no</a:t>
            </a:r>
            <a:r>
              <a:rPr lang="de-CH" sz="1400" dirty="0"/>
              <a:t> </a:t>
            </a:r>
            <a:r>
              <a:rPr lang="de-CH" sz="1400" dirty="0" err="1"/>
              <a:t>differentiation</a:t>
            </a:r>
            <a:r>
              <a:rPr lang="de-CH" sz="1400" dirty="0"/>
              <a:t> </a:t>
            </a:r>
            <a:r>
              <a:rPr lang="de-CH" sz="1400" dirty="0" err="1"/>
              <a:t>between</a:t>
            </a:r>
            <a:r>
              <a:rPr lang="de-CH" sz="1400" dirty="0"/>
              <a:t> parallel and </a:t>
            </a:r>
            <a:r>
              <a:rPr lang="de-CH" sz="1400" dirty="0" err="1"/>
              <a:t>sequential</a:t>
            </a:r>
            <a:r>
              <a:rPr lang="de-CH" sz="1400" dirty="0"/>
              <a:t>). </a:t>
            </a:r>
            <a:r>
              <a:rPr lang="de-CH" sz="1400" dirty="0" err="1"/>
              <a:t>Amount</a:t>
            </a:r>
            <a:r>
              <a:rPr lang="de-CH" sz="1400" dirty="0"/>
              <a:t> </a:t>
            </a:r>
            <a:r>
              <a:rPr lang="de-CH" sz="1400" dirty="0" err="1"/>
              <a:t>of</a:t>
            </a:r>
            <a:r>
              <a:rPr lang="de-CH" sz="1400" dirty="0"/>
              <a:t> Features: 2 (</a:t>
            </a:r>
            <a:r>
              <a:rPr lang="de-CH" sz="1400" dirty="0" err="1"/>
              <a:t>reduced</a:t>
            </a:r>
            <a:r>
              <a:rPr lang="de-CH" sz="1400" dirty="0"/>
              <a:t> </a:t>
            </a:r>
            <a:r>
              <a:rPr lang="de-CH" sz="1400" dirty="0" err="1"/>
              <a:t>because</a:t>
            </a:r>
            <a:r>
              <a:rPr lang="de-CH" sz="1400" dirty="0"/>
              <a:t>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executiontime</a:t>
            </a:r>
            <a:r>
              <a:rPr lang="de-CH" sz="1400" dirty="0"/>
              <a:t>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FFEC5EC-1559-D0A2-C5D9-74975B33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504" y="2000594"/>
            <a:ext cx="2076444" cy="109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01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19694A-F30D-4AC2-AF68-B6CB7CB348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44CC17-0D52-FAEF-E7DC-B7D361E81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de-CH" dirty="0"/>
            </a:br>
            <a:r>
              <a:rPr lang="de-CH" b="0" dirty="0"/>
              <a:t>Dataset 1: NASDAQ Close Price </a:t>
            </a:r>
            <a:r>
              <a:rPr lang="de-CH" b="0" dirty="0" err="1"/>
              <a:t>Prediction</a:t>
            </a:r>
            <a:endParaRPr lang="en-US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38EFBDE-687B-6959-9F44-659773384E5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701052" y="998220"/>
                <a:ext cx="8516451" cy="3529419"/>
              </a:xfrm>
            </p:spPr>
            <p:txBody>
              <a:bodyPr/>
              <a:lstStyle/>
              <a:p>
                <a:pPr marL="285750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/>
                  <a:t>Targetfunction </a:t>
                </a:r>
                <a14:m>
                  <m:oMath xmlns:m="http://schemas.openxmlformats.org/officeDocument/2006/math"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sz="105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𝑠𝑐𝑎𝑙𝑖𝑛𝑔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𝑜𝑓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𝑑𝑎𝑦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𝑛𝑢𝑚𝑏𝑒𝑟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𝑟𝑒𝑝𝑟𝑒𝑠𝑒𝑛𝑡𝑖𝑛𝑔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𝑡𝑖𝑚𝑒𝑠𝑡𝑎𝑚𝑝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𝑎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de-CH" sz="105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050" b="0" i="1" smtClean="0">
                            <a:latin typeface="Cambria Math" panose="02040503050406030204" pitchFamily="18" charset="0"/>
                          </a:rPr>
                          <m:t>𝑛𝑜𝑟𝑚𝑎𝑙𝑖𝑧𝑒𝑑</m:t>
                        </m:r>
                      </m:e>
                    </m:d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𝑁𝐴𝑆𝐷𝐴𝑄</m:t>
                    </m:r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𝑐𝑙𝑜𝑠𝑒</m:t>
                    </m:r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CH" sz="1050" b="0" i="1" smtClean="0">
                        <a:latin typeface="Cambria Math" panose="02040503050406030204" pitchFamily="18" charset="0"/>
                      </a:rPr>
                      <m:t>𝑝𝑟𝑖𝑐𝑒</m:t>
                    </m:r>
                  </m:oMath>
                </a14:m>
                <a:endParaRPr lang="de-CH" sz="1050" b="0" dirty="0"/>
              </a:p>
              <a:p>
                <a:pPr marL="537750" lvl="3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 err="1"/>
                  <a:t>To</a:t>
                </a:r>
                <a:r>
                  <a:rPr lang="de-CH" sz="1050" dirty="0"/>
                  <a:t> </a:t>
                </a:r>
                <a:r>
                  <a:rPr lang="de-CH" sz="1050" dirty="0" err="1"/>
                  <a:t>get</a:t>
                </a:r>
                <a:r>
                  <a:rPr lang="de-CH" sz="1050" dirty="0"/>
                  <a:t> a </a:t>
                </a:r>
                <a:r>
                  <a:rPr lang="de-CH" sz="1050" dirty="0" err="1"/>
                  <a:t>better</a:t>
                </a:r>
                <a:r>
                  <a:rPr lang="de-CH" sz="1050" dirty="0"/>
                  <a:t> </a:t>
                </a:r>
                <a:r>
                  <a:rPr lang="de-CH" sz="1050" dirty="0" err="1"/>
                  <a:t>result</a:t>
                </a:r>
                <a:r>
                  <a:rPr lang="de-CH" sz="1050" dirty="0"/>
                  <a:t> </a:t>
                </a:r>
                <a:r>
                  <a:rPr lang="de-CH" sz="1050" dirty="0" err="1"/>
                  <a:t>w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could</a:t>
                </a:r>
                <a:r>
                  <a:rPr lang="de-CH" sz="1050" dirty="0"/>
                  <a:t> </a:t>
                </a:r>
                <a:r>
                  <a:rPr lang="de-CH" sz="1050" dirty="0" err="1"/>
                  <a:t>add</a:t>
                </a:r>
                <a:r>
                  <a:rPr lang="de-CH" sz="1050" dirty="0"/>
                  <a:t> a </a:t>
                </a:r>
                <a:r>
                  <a:rPr lang="de-CH" sz="1050" dirty="0" err="1"/>
                  <a:t>sliding</a:t>
                </a:r>
                <a:r>
                  <a:rPr lang="de-CH" sz="1050" dirty="0"/>
                  <a:t> </a:t>
                </a:r>
                <a:r>
                  <a:rPr lang="de-CH" sz="1050" dirty="0" err="1"/>
                  <a:t>window</a:t>
                </a:r>
                <a:r>
                  <a:rPr lang="de-CH" sz="1050" dirty="0"/>
                  <a:t> </a:t>
                </a:r>
                <a:r>
                  <a:rPr lang="de-CH" sz="1050" dirty="0" err="1"/>
                  <a:t>as</a:t>
                </a:r>
                <a:r>
                  <a:rPr lang="de-CH" sz="1050" dirty="0"/>
                  <a:t> </a:t>
                </a:r>
                <a:r>
                  <a:rPr lang="de-CH" sz="1050" dirty="0" err="1"/>
                  <a:t>input</a:t>
                </a:r>
                <a:r>
                  <a:rPr lang="de-CH" sz="1050" dirty="0"/>
                  <a:t> feature, </a:t>
                </a:r>
                <a:r>
                  <a:rPr lang="de-CH" sz="1050" dirty="0" err="1"/>
                  <a:t>interpolation</a:t>
                </a:r>
                <a:r>
                  <a:rPr lang="de-CH" sz="1050" dirty="0"/>
                  <a:t> </a:t>
                </a:r>
                <a:r>
                  <a:rPr lang="de-CH" sz="1050" dirty="0" err="1"/>
                  <a:t>points</a:t>
                </a:r>
                <a:r>
                  <a:rPr lang="de-CH" sz="1050" dirty="0"/>
                  <a:t> in </a:t>
                </a:r>
                <a:r>
                  <a:rPr lang="de-CH" sz="1050" dirty="0" err="1"/>
                  <a:t>peak</a:t>
                </a:r>
                <a:r>
                  <a:rPr lang="de-CH" sz="1050" dirty="0"/>
                  <a:t> </a:t>
                </a:r>
                <a:r>
                  <a:rPr lang="de-CH" sz="1050" dirty="0" err="1"/>
                  <a:t>area</a:t>
                </a:r>
                <a:r>
                  <a:rPr lang="de-CH" sz="1050" dirty="0"/>
                  <a:t> etc. </a:t>
                </a:r>
              </a:p>
              <a:p>
                <a:pPr marL="537750" lvl="3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/>
                  <a:t>Still </a:t>
                </a:r>
                <a:r>
                  <a:rPr lang="de-CH" sz="1050" dirty="0" err="1"/>
                  <a:t>doesn’t</a:t>
                </a:r>
                <a:r>
                  <a:rPr lang="de-CH" sz="1050" dirty="0"/>
                  <a:t> fit </a:t>
                </a:r>
                <a:r>
                  <a:rPr lang="de-CH" sz="1050" dirty="0" err="1"/>
                  <a:t>small</a:t>
                </a:r>
                <a:r>
                  <a:rPr lang="de-CH" sz="1050" dirty="0"/>
                  <a:t> </a:t>
                </a:r>
                <a:r>
                  <a:rPr lang="de-CH" sz="1050" dirty="0" err="1"/>
                  <a:t>pric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changes</a:t>
                </a:r>
                <a:r>
                  <a:rPr lang="de-CH" sz="1050" dirty="0"/>
                  <a:t> (</a:t>
                </a:r>
                <a:r>
                  <a:rPr lang="de-CH" sz="1050" dirty="0" err="1"/>
                  <a:t>exact</a:t>
                </a:r>
                <a:r>
                  <a:rPr lang="de-CH" sz="1050" dirty="0"/>
                  <a:t> </a:t>
                </a:r>
                <a:r>
                  <a:rPr lang="de-CH" sz="1050" dirty="0" err="1"/>
                  <a:t>target</a:t>
                </a:r>
                <a:r>
                  <a:rPr lang="de-CH" sz="1050" dirty="0"/>
                  <a:t> </a:t>
                </a:r>
                <a:r>
                  <a:rPr lang="de-CH" sz="1050" dirty="0" err="1"/>
                  <a:t>function</a:t>
                </a:r>
                <a:r>
                  <a:rPr lang="de-CH" sz="1050" dirty="0"/>
                  <a:t> </a:t>
                </a:r>
                <a:r>
                  <a:rPr lang="de-CH" sz="1050" dirty="0" err="1"/>
                  <a:t>has</a:t>
                </a:r>
                <a:r>
                  <a:rPr lang="de-CH" sz="1050" dirty="0"/>
                  <a:t> high </a:t>
                </a:r>
                <a:r>
                  <a:rPr lang="de-CH" sz="1050" dirty="0" err="1"/>
                  <a:t>variability</a:t>
                </a:r>
                <a:r>
                  <a:rPr lang="de-CH" sz="1050" dirty="0"/>
                  <a:t>)</a:t>
                </a:r>
              </a:p>
              <a:p>
                <a:pPr marL="285750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/>
                  <a:t>Best </a:t>
                </a:r>
                <a:r>
                  <a:rPr lang="de-CH" sz="1050" dirty="0" err="1"/>
                  <a:t>model</a:t>
                </a:r>
                <a:r>
                  <a:rPr lang="de-CH" sz="1050" dirty="0"/>
                  <a:t>: r = 3 </a:t>
                </a:r>
                <a:r>
                  <a:rPr lang="de-CH" sz="1050" dirty="0" err="1"/>
                  <a:t>with</a:t>
                </a:r>
                <a:r>
                  <a:rPr lang="de-CH" sz="1050" dirty="0"/>
                  <a:t> 82 % and </a:t>
                </a:r>
                <a:r>
                  <a:rPr lang="de-CH" sz="1050" dirty="0" err="1"/>
                  <a:t>arcsin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encoding</a:t>
                </a:r>
                <a:r>
                  <a:rPr lang="de-CH" sz="1050" dirty="0"/>
                  <a:t> (linear </a:t>
                </a:r>
                <a:r>
                  <a:rPr lang="de-CH" sz="1050" dirty="0" err="1"/>
                  <a:t>encoding</a:t>
                </a:r>
                <a:r>
                  <a:rPr lang="de-CH" sz="1050" dirty="0"/>
                  <a:t> </a:t>
                </a:r>
                <a:r>
                  <a:rPr lang="de-CH" sz="1050" dirty="0" err="1"/>
                  <a:t>had</a:t>
                </a:r>
                <a:r>
                  <a:rPr lang="de-CH" sz="1050" dirty="0"/>
                  <a:t> </a:t>
                </a:r>
                <a:r>
                  <a:rPr lang="de-CH" sz="1050" dirty="0" err="1"/>
                  <a:t>never</a:t>
                </a:r>
                <a:r>
                  <a:rPr lang="de-CH" sz="1050" dirty="0"/>
                  <a:t> </a:t>
                </a:r>
                <a:r>
                  <a:rPr lang="de-CH" sz="1050" dirty="0" err="1"/>
                  <a:t>mor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then</a:t>
                </a:r>
                <a:r>
                  <a:rPr lang="de-CH" sz="1050" dirty="0"/>
                  <a:t> 34 %)</a:t>
                </a:r>
              </a:p>
              <a:p>
                <a:pPr marL="537750" lvl="3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 err="1"/>
                  <a:t>Arcsin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encoding</a:t>
                </a:r>
                <a:r>
                  <a:rPr lang="de-CH" sz="1050" dirty="0"/>
                  <a:t> </a:t>
                </a:r>
                <a:r>
                  <a:rPr lang="de-CH" sz="1050" dirty="0" err="1"/>
                  <a:t>captures</a:t>
                </a:r>
                <a:r>
                  <a:rPr lang="de-CH" sz="1050" dirty="0"/>
                  <a:t> </a:t>
                </a:r>
                <a:r>
                  <a:rPr lang="de-CH" sz="1050" dirty="0" err="1"/>
                  <a:t>better</a:t>
                </a:r>
                <a:r>
                  <a:rPr lang="de-CH" sz="1050" dirty="0"/>
                  <a:t> </a:t>
                </a:r>
                <a:r>
                  <a:rPr lang="de-CH" sz="1050" dirty="0" err="1"/>
                  <a:t>the</a:t>
                </a:r>
                <a:r>
                  <a:rPr lang="de-CH" sz="1050" dirty="0"/>
                  <a:t> </a:t>
                </a:r>
                <a:r>
                  <a:rPr lang="de-CH" sz="1050" dirty="0" err="1"/>
                  <a:t>nonlinearty</a:t>
                </a:r>
                <a:endParaRPr lang="de-CH" sz="700" dirty="0"/>
              </a:p>
              <a:p>
                <a:pPr marL="537750" lvl="1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b="1" dirty="0" err="1"/>
                  <a:t>Lowerbound</a:t>
                </a:r>
                <a:r>
                  <a:rPr lang="de-CH" sz="1050" b="1" dirty="0"/>
                  <a:t> </a:t>
                </a:r>
                <a:r>
                  <a:rPr lang="de-CH" sz="1050" b="1" dirty="0" err="1"/>
                  <a:t>analysis</a:t>
                </a:r>
                <a:r>
                  <a:rPr lang="de-CH" sz="1050" b="1" dirty="0"/>
                  <a:t>:</a:t>
                </a:r>
              </a:p>
              <a:p>
                <a:pPr marL="789750" lvl="5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00" dirty="0" err="1"/>
                  <a:t>W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don’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hav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arge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unctio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nalyticaly</a:t>
                </a:r>
                <a:r>
                  <a:rPr lang="de-CH" sz="1000" dirty="0"/>
                  <a:t>. </a:t>
                </a:r>
                <a:r>
                  <a:rPr lang="de-CH" sz="1000" dirty="0" err="1"/>
                  <a:t>From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eye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however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w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e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a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unctio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grow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lmos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exponentially</a:t>
                </a:r>
                <a:r>
                  <a:rPr lang="de-CH" sz="1000" dirty="0"/>
                  <a:t> (</a:t>
                </a:r>
                <a:r>
                  <a:rPr lang="de-CH" sz="1000" dirty="0" err="1"/>
                  <a:t>thi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ypicall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requires</a:t>
                </a:r>
                <a:r>
                  <a:rPr lang="de-CH" sz="1000" dirty="0"/>
                  <a:t> infinite </a:t>
                </a:r>
                <a:r>
                  <a:rPr lang="de-CH" sz="1000" dirty="0" err="1"/>
                  <a:t>fourier</a:t>
                </a:r>
                <a:r>
                  <a:rPr lang="de-CH" sz="1000" dirty="0"/>
                  <a:t> rank, i.e.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numbe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of</a:t>
                </a:r>
                <a:r>
                  <a:rPr lang="de-CH" sz="1000" dirty="0"/>
                  <a:t> </a:t>
                </a:r>
                <a:r>
                  <a:rPr lang="de-CH" sz="1000" dirty="0" err="1"/>
                  <a:t>distinc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ourie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erms</a:t>
                </a:r>
                <a:r>
                  <a:rPr lang="de-CH" sz="1000" dirty="0"/>
                  <a:t>).</a:t>
                </a:r>
              </a:p>
              <a:p>
                <a:pPr marL="789750" lvl="5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00" dirty="0"/>
                  <a:t>With a </a:t>
                </a:r>
                <a:r>
                  <a:rPr lang="de-CH" sz="1000" dirty="0" err="1"/>
                  <a:t>certai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erro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olerance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w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narrow</a:t>
                </a:r>
                <a:r>
                  <a:rPr lang="de-CH" sz="1000" dirty="0"/>
                  <a:t> down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unctio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mor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precisel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looking</a:t>
                </a:r>
                <a:r>
                  <a:rPr lang="de-CH" sz="1000" dirty="0"/>
                  <a:t>: </a:t>
                </a:r>
                <a:r>
                  <a:rPr lang="de-CH" sz="1000" dirty="0" err="1"/>
                  <a:t>I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has</a:t>
                </a:r>
                <a:r>
                  <a:rPr lang="de-CH" sz="1000" dirty="0"/>
                  <a:t> a </a:t>
                </a:r>
                <a:r>
                  <a:rPr lang="de-CH" sz="1000" dirty="0" err="1"/>
                  <a:t>small</a:t>
                </a:r>
                <a:r>
                  <a:rPr lang="de-CH" sz="1000" dirty="0"/>
                  <a:t> </a:t>
                </a:r>
                <a:r>
                  <a:rPr lang="de-CH" sz="1000" dirty="0" err="1"/>
                  <a:t>peak</a:t>
                </a:r>
                <a:r>
                  <a:rPr lang="de-CH" sz="1000" dirty="0"/>
                  <a:t> and </a:t>
                </a:r>
                <a:r>
                  <a:rPr lang="de-CH" sz="1000" dirty="0" err="1"/>
                  <a:t>the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grow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trongl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gain</a:t>
                </a:r>
                <a:r>
                  <a:rPr lang="de-CH" sz="1000" dirty="0"/>
                  <a:t> (</a:t>
                </a:r>
                <a:r>
                  <a:rPr lang="de-CH" sz="1000" dirty="0" err="1"/>
                  <a:t>you</a:t>
                </a:r>
                <a:r>
                  <a:rPr lang="de-CH" sz="1000" dirty="0"/>
                  <a:t>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narrow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is</a:t>
                </a:r>
                <a:r>
                  <a:rPr lang="de-CH" sz="1000" dirty="0"/>
                  <a:t> down </a:t>
                </a:r>
                <a:r>
                  <a:rPr lang="de-CH" sz="1000" dirty="0" err="1"/>
                  <a:t>eve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urther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fo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example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b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observing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urthe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local</a:t>
                </a:r>
                <a:r>
                  <a:rPr lang="de-CH" sz="1000" dirty="0"/>
                  <a:t> </a:t>
                </a:r>
                <a:r>
                  <a:rPr lang="de-CH" sz="1000" dirty="0" err="1"/>
                  <a:t>minimum</a:t>
                </a:r>
                <a:r>
                  <a:rPr lang="de-CH" sz="1000" dirty="0"/>
                  <a:t> after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mall</a:t>
                </a:r>
                <a:r>
                  <a:rPr lang="de-CH" sz="1000" dirty="0"/>
                  <a:t> </a:t>
                </a:r>
                <a:r>
                  <a:rPr lang="de-CH" sz="1000" dirty="0" err="1"/>
                  <a:t>peak</a:t>
                </a:r>
                <a:r>
                  <a:rPr lang="de-CH" sz="1000" dirty="0"/>
                  <a:t>). This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pproximated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looking</a:t>
                </a:r>
                <a:r>
                  <a:rPr lang="de-CH" sz="1000" dirty="0"/>
                  <a:t> </a:t>
                </a:r>
                <a:r>
                  <a:rPr lang="de-CH" sz="1000" dirty="0" err="1"/>
                  <a:t>with</a:t>
                </a:r>
                <a:r>
                  <a:rPr lang="de-CH" sz="1000" dirty="0"/>
                  <a:t> a </a:t>
                </a:r>
                <a:r>
                  <a:rPr lang="de-CH" sz="1000" dirty="0" err="1"/>
                  <a:t>degree</a:t>
                </a:r>
                <a:r>
                  <a:rPr lang="de-CH" sz="1000" dirty="0"/>
                  <a:t> 4 </a:t>
                </a:r>
                <a:r>
                  <a:rPr lang="de-CH" sz="1000" dirty="0" err="1"/>
                  <a:t>or</a:t>
                </a:r>
                <a:r>
                  <a:rPr lang="de-CH" sz="1000" dirty="0"/>
                  <a:t> 5 polynomial. </a:t>
                </a:r>
              </a:p>
              <a:p>
                <a:pPr marL="789750" lvl="5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00" dirty="0" err="1"/>
                  <a:t>Depending</a:t>
                </a:r>
                <a:r>
                  <a:rPr lang="de-CH" sz="1000" dirty="0"/>
                  <a:t> on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ccuracy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you</a:t>
                </a:r>
                <a:r>
                  <a:rPr lang="de-CH" sz="1000" dirty="0"/>
                  <a:t> </a:t>
                </a:r>
                <a:r>
                  <a:rPr lang="de-CH" sz="1000" dirty="0" err="1"/>
                  <a:t>would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n</a:t>
                </a:r>
                <a:r>
                  <a:rPr lang="de-CH" sz="1000" dirty="0"/>
                  <a:t> also </a:t>
                </a:r>
                <a:r>
                  <a:rPr lang="de-CH" sz="1000" dirty="0" err="1"/>
                  <a:t>have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fo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example</a:t>
                </a:r>
                <a:r>
                  <a:rPr lang="de-CH" sz="1000" dirty="0"/>
                  <a:t>, 5 Fourier </a:t>
                </a:r>
                <a:r>
                  <a:rPr lang="de-CH" sz="1000" dirty="0" err="1"/>
                  <a:t>monomials</a:t>
                </a:r>
                <a:r>
                  <a:rPr lang="de-CH" sz="1000" dirty="0"/>
                  <a:t>: </a:t>
                </a:r>
                <a14:m>
                  <m:oMath xmlns:m="http://schemas.openxmlformats.org/officeDocument/2006/math">
                    <m:r>
                      <a:rPr lang="de-CH" sz="11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CH" sz="1100" b="0" i="1" smtClean="0">
                        <a:latin typeface="Cambria Math" panose="02040503050406030204" pitchFamily="18" charset="0"/>
                      </a:rPr>
                      <m:t>≥</m:t>
                    </m:r>
                    <m:d>
                      <m:dPr>
                        <m:begChr m:val="⌈"/>
                        <m:endChr m:val="⌉"/>
                        <m:ctrlPr>
                          <a:rPr lang="de-CH" sz="11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de-CH" sz="1100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de-CH" sz="11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sty m:val="p"/>
                                  </m:rPr>
                                  <a:rPr lang="de-CH" sz="1100">
                                    <a:latin typeface="Cambria Math" panose="02040503050406030204" pitchFamily="18" charset="0"/>
                                  </a:rPr>
                                  <m:t>log</m:t>
                                </m:r>
                              </m:e>
                              <m:sub>
                                <m:r>
                                  <a:rPr lang="de-CH" sz="1100" i="1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</m:fName>
                          <m:e>
                            <m:d>
                              <m:dPr>
                                <m:ctrlPr>
                                  <a:rPr lang="de-CH" sz="11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CH" sz="1100" i="1">
                                    <a:latin typeface="Cambria Math" panose="02040503050406030204" pitchFamily="18" charset="0"/>
                                  </a:rPr>
                                  <m:t>2∗5+1</m:t>
                                </m:r>
                              </m:e>
                            </m:d>
                          </m:e>
                        </m:func>
                      </m:e>
                    </m:d>
                    <m:r>
                      <a:rPr lang="de-CH" sz="1100" b="0" i="0" smtClean="0">
                        <a:latin typeface="Cambria Math" panose="02040503050406030204" pitchFamily="18" charset="0"/>
                      </a:rPr>
                      <m:t>=3</m:t>
                    </m:r>
                  </m:oMath>
                </a14:m>
                <a:r>
                  <a:rPr lang="de-CH" sz="1000" dirty="0"/>
                  <a:t> </a:t>
                </a:r>
                <a:r>
                  <a:rPr lang="de-CH" sz="1000" dirty="0" err="1"/>
                  <a:t>repetition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mus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made</a:t>
                </a:r>
                <a:r>
                  <a:rPr lang="de-CH" sz="1000" dirty="0"/>
                  <a:t> at least linear </a:t>
                </a:r>
                <a:r>
                  <a:rPr lang="de-CH" sz="1000" dirty="0" err="1"/>
                  <a:t>for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i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ccuracy</a:t>
                </a:r>
                <a:r>
                  <a:rPr lang="de-CH" sz="1000" dirty="0"/>
                  <a:t> (</a:t>
                </a:r>
                <a:r>
                  <a:rPr lang="de-CH" sz="1000" dirty="0" err="1"/>
                  <a:t>thi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i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how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result</a:t>
                </a:r>
                <a:r>
                  <a:rPr lang="de-CH" sz="1000" dirty="0"/>
                  <a:t>. r=3 </a:t>
                </a:r>
                <a:r>
                  <a:rPr lang="de-CH" sz="1000" dirty="0" err="1"/>
                  <a:t>is</a:t>
                </a:r>
                <a:r>
                  <a:rPr lang="de-CH" sz="1000" dirty="0"/>
                  <a:t> also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bes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for</a:t>
                </a:r>
                <a:r>
                  <a:rPr lang="de-CH" sz="1000" dirty="0"/>
                  <a:t> linear </a:t>
                </a:r>
                <a:r>
                  <a:rPr lang="de-CH" sz="1000" dirty="0" err="1"/>
                  <a:t>encoding</a:t>
                </a:r>
                <a:r>
                  <a:rPr lang="de-CH" sz="1000" dirty="0"/>
                  <a:t>). With </a:t>
                </a:r>
                <a:r>
                  <a:rPr lang="de-CH" sz="1000" dirty="0" err="1"/>
                  <a:t>arcsin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you</a:t>
                </a:r>
                <a:r>
                  <a:rPr lang="de-CH" sz="1000" dirty="0"/>
                  <a:t> </a:t>
                </a:r>
                <a:r>
                  <a:rPr lang="de-CH" sz="1000" dirty="0" err="1"/>
                  <a:t>would</a:t>
                </a:r>
                <a:r>
                  <a:rPr lang="de-CH" sz="1000" dirty="0"/>
                  <a:t> </a:t>
                </a:r>
                <a:r>
                  <a:rPr lang="de-CH" sz="1000" dirty="0" err="1"/>
                  <a:t>hav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o</a:t>
                </a:r>
                <a:r>
                  <a:rPr lang="de-CH" sz="1000" dirty="0"/>
                  <a:t> </a:t>
                </a:r>
                <a:r>
                  <a:rPr lang="de-CH" sz="1000" dirty="0" err="1"/>
                  <a:t>use</a:t>
                </a:r>
                <a:r>
                  <a:rPr lang="de-CH" sz="1000" dirty="0"/>
                  <a:t> r=4 </a:t>
                </a:r>
                <a:r>
                  <a:rPr lang="de-CH" sz="1000" dirty="0" err="1"/>
                  <a:t>or</a:t>
                </a:r>
                <a:r>
                  <a:rPr lang="de-CH" sz="1000" dirty="0"/>
                  <a:t> 5. The </a:t>
                </a:r>
                <a:r>
                  <a:rPr lang="de-CH" sz="1000" dirty="0" err="1"/>
                  <a:t>solutio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how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is</a:t>
                </a:r>
                <a:r>
                  <a:rPr lang="de-CH" sz="1000" dirty="0"/>
                  <a:t> </a:t>
                </a:r>
                <a:r>
                  <a:rPr lang="de-CH" sz="1000" dirty="0" err="1"/>
                  <a:t>well</a:t>
                </a:r>
                <a:r>
                  <a:rPr lang="de-CH" sz="1000" dirty="0"/>
                  <a:t>. </a:t>
                </a:r>
                <a:r>
                  <a:rPr lang="de-CH" sz="1000" dirty="0" err="1"/>
                  <a:t>However</a:t>
                </a:r>
                <a:r>
                  <a:rPr lang="de-CH" sz="1000" dirty="0"/>
                  <a:t>, </a:t>
                </a:r>
                <a:r>
                  <a:rPr lang="de-CH" sz="1000" dirty="0" err="1"/>
                  <a:t>you</a:t>
                </a:r>
                <a:r>
                  <a:rPr lang="de-CH" sz="1000" dirty="0"/>
                  <a:t>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</a:t>
                </a:r>
                <a:r>
                  <a:rPr lang="de-CH" sz="1000" dirty="0" err="1"/>
                  <a:t>alread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see</a:t>
                </a:r>
                <a:r>
                  <a:rPr lang="de-CH" sz="1000" dirty="0"/>
                  <a:t> an </a:t>
                </a:r>
                <a:r>
                  <a:rPr lang="de-CH" sz="1000" dirty="0" err="1"/>
                  <a:t>accuracy</a:t>
                </a:r>
                <a:r>
                  <a:rPr lang="de-CH" sz="1000" dirty="0"/>
                  <a:t> </a:t>
                </a:r>
                <a:r>
                  <a:rPr lang="de-CH" sz="1000" dirty="0" err="1"/>
                  <a:t>of</a:t>
                </a:r>
                <a:r>
                  <a:rPr lang="de-CH" sz="1000" dirty="0"/>
                  <a:t> 82 </a:t>
                </a:r>
                <a:r>
                  <a:rPr lang="de-CH" sz="1000" dirty="0" err="1"/>
                  <a:t>with</a:t>
                </a:r>
                <a:r>
                  <a:rPr lang="de-CH" sz="1000" dirty="0"/>
                  <a:t> r=3 (but </a:t>
                </a:r>
                <a:r>
                  <a:rPr lang="de-CH" sz="1000" dirty="0" err="1"/>
                  <a:t>you</a:t>
                </a:r>
                <a:r>
                  <a:rPr lang="de-CH" sz="1000" dirty="0"/>
                  <a:t> </a:t>
                </a:r>
                <a:r>
                  <a:rPr lang="de-CH" sz="1000" dirty="0" err="1"/>
                  <a:t>can</a:t>
                </a:r>
                <a:r>
                  <a:rPr lang="de-CH" sz="1000" dirty="0"/>
                  <a:t> also </a:t>
                </a:r>
                <a:r>
                  <a:rPr lang="de-CH" sz="1000" dirty="0" err="1"/>
                  <a:t>se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r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at</a:t>
                </a:r>
                <a:r>
                  <a:rPr lang="de-CH" sz="1000" dirty="0"/>
                  <a:t> </a:t>
                </a:r>
                <a:r>
                  <a:rPr lang="de-CH" sz="1000" dirty="0" err="1"/>
                  <a:t>the</a:t>
                </a:r>
                <a:r>
                  <a:rPr lang="de-CH" sz="1000" dirty="0"/>
                  <a:t> </a:t>
                </a:r>
                <a:r>
                  <a:rPr lang="de-CH" sz="1000" dirty="0" err="1"/>
                  <a:t>local</a:t>
                </a:r>
                <a:r>
                  <a:rPr lang="de-CH" sz="1000" dirty="0"/>
                  <a:t> </a:t>
                </a:r>
                <a:r>
                  <a:rPr lang="de-CH" sz="1000" dirty="0" err="1"/>
                  <a:t>peak</a:t>
                </a:r>
                <a:r>
                  <a:rPr lang="de-CH" sz="1000" dirty="0"/>
                  <a:t> </a:t>
                </a:r>
                <a:r>
                  <a:rPr lang="de-CH" sz="1000" dirty="0" err="1"/>
                  <a:t>is</a:t>
                </a:r>
                <a:r>
                  <a:rPr lang="de-CH" sz="1000" dirty="0"/>
                  <a:t> not </a:t>
                </a:r>
                <a:r>
                  <a:rPr lang="de-CH" sz="1000" dirty="0" err="1"/>
                  <a:t>considered</a:t>
                </a:r>
                <a:r>
                  <a:rPr lang="de-CH" sz="1000" dirty="0"/>
                  <a:t> at all). </a:t>
                </a:r>
              </a:p>
              <a:p>
                <a:pPr marL="537750" lvl="3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b="1" dirty="0" err="1"/>
                  <a:t>Upperbound</a:t>
                </a:r>
                <a:r>
                  <a:rPr lang="de-CH" sz="1050" b="1" dirty="0"/>
                  <a:t> </a:t>
                </a:r>
                <a:r>
                  <a:rPr lang="de-CH" sz="1050" b="1" dirty="0" err="1"/>
                  <a:t>analysis</a:t>
                </a:r>
                <a:r>
                  <a:rPr lang="de-CH" sz="1050" b="1" dirty="0"/>
                  <a:t> </a:t>
                </a:r>
                <a:r>
                  <a:rPr lang="de-CH" sz="1050" b="1" dirty="0" err="1"/>
                  <a:t>for</a:t>
                </a:r>
                <a:r>
                  <a:rPr lang="de-CH" sz="1050" b="1" dirty="0"/>
                  <a:t> </a:t>
                </a:r>
                <a:r>
                  <a:rPr lang="de-CH" sz="1050" b="1" dirty="0" err="1"/>
                  <a:t>best</a:t>
                </a:r>
                <a:r>
                  <a:rPr lang="de-CH" sz="1050" b="1" dirty="0"/>
                  <a:t> </a:t>
                </a:r>
                <a:r>
                  <a:rPr lang="de-CH" sz="1050" b="1" dirty="0" err="1"/>
                  <a:t>model</a:t>
                </a:r>
                <a:r>
                  <a:rPr lang="de-CH" sz="1050" b="1" dirty="0"/>
                  <a:t>:</a:t>
                </a:r>
              </a:p>
              <a:p>
                <a:pPr marL="789750" lvl="5" indent="-285750">
                  <a:spcAft>
                    <a:spcPts val="200"/>
                  </a:spcAft>
                  <a:buFont typeface="Arial" panose="020B0604020202020204" pitchFamily="34" charset="0"/>
                  <a:buChar char="•"/>
                </a:pPr>
                <a:r>
                  <a:rPr lang="de-CH" sz="1050" dirty="0"/>
                  <a:t>1 </a:t>
                </a:r>
                <a:r>
                  <a:rPr lang="de-CH" sz="1050" dirty="0" err="1"/>
                  <a:t>qubit</a:t>
                </a:r>
                <a:r>
                  <a:rPr lang="de-CH" sz="1050" dirty="0"/>
                  <a:t> (d=2), r=3 (L=3): </a:t>
                </a:r>
                <a14:m>
                  <m:oMath xmlns:m="http://schemas.openxmlformats.org/officeDocument/2006/math">
                    <m:r>
                      <a:rPr lang="de-CH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𝐾</m:t>
                    </m:r>
                    <m:r>
                      <a:rPr lang="de-CH" sz="12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31</m:t>
                    </m:r>
                  </m:oMath>
                </a14:m>
                <a:endParaRPr lang="en-US" sz="1050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38EFBDE-687B-6959-9F44-659773384E5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01052" y="998220"/>
                <a:ext cx="8516451" cy="3529419"/>
              </a:xfrm>
              <a:blipFill>
                <a:blip r:embed="rId3"/>
                <a:stretch>
                  <a:fillRect l="-931" t="-1209" r="-28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5A553688-AA53-6065-3A5F-FAE9CED10A96}"/>
              </a:ext>
            </a:extLst>
          </p:cNvPr>
          <p:cNvSpPr txBox="1">
            <a:spLocks/>
          </p:cNvSpPr>
          <p:nvPr/>
        </p:nvSpPr>
        <p:spPr>
          <a:xfrm>
            <a:off x="559587" y="5347257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r=1</a:t>
            </a:r>
          </a:p>
        </p:txBody>
      </p:sp>
      <p:sp>
        <p:nvSpPr>
          <p:cNvPr id="48" name="Inhaltsplatzhalter 2">
            <a:extLst>
              <a:ext uri="{FF2B5EF4-FFF2-40B4-BE49-F238E27FC236}">
                <a16:creationId xmlns:a16="http://schemas.microsoft.com/office/drawing/2014/main" id="{E56814C0-E9B2-4D4F-1BDC-EF8A043C4C7F}"/>
              </a:ext>
            </a:extLst>
          </p:cNvPr>
          <p:cNvSpPr txBox="1">
            <a:spLocks/>
          </p:cNvSpPr>
          <p:nvPr/>
        </p:nvSpPr>
        <p:spPr>
          <a:xfrm>
            <a:off x="2583834" y="5347257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r=3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39103B12-F869-0BD4-CAB7-A03558F9BE10}"/>
              </a:ext>
            </a:extLst>
          </p:cNvPr>
          <p:cNvSpPr txBox="1">
            <a:spLocks/>
          </p:cNvSpPr>
          <p:nvPr/>
        </p:nvSpPr>
        <p:spPr>
          <a:xfrm>
            <a:off x="6291560" y="5356296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r=5</a:t>
            </a:r>
          </a:p>
        </p:txBody>
      </p:sp>
      <p:sp>
        <p:nvSpPr>
          <p:cNvPr id="50" name="Inhaltsplatzhalter 2">
            <a:extLst>
              <a:ext uri="{FF2B5EF4-FFF2-40B4-BE49-F238E27FC236}">
                <a16:creationId xmlns:a16="http://schemas.microsoft.com/office/drawing/2014/main" id="{E6639813-C195-C65F-1680-ADC93C3690E2}"/>
              </a:ext>
            </a:extLst>
          </p:cNvPr>
          <p:cNvSpPr txBox="1">
            <a:spLocks/>
          </p:cNvSpPr>
          <p:nvPr/>
        </p:nvSpPr>
        <p:spPr>
          <a:xfrm>
            <a:off x="561850" y="3967022"/>
            <a:ext cx="8638599" cy="2651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Effect of data re-uploading (serial) with arcsine encoding </a:t>
            </a:r>
          </a:p>
        </p:txBody>
      </p:sp>
      <p:sp>
        <p:nvSpPr>
          <p:cNvPr id="51" name="Inhaltsplatzhalter 2">
            <a:extLst>
              <a:ext uri="{FF2B5EF4-FFF2-40B4-BE49-F238E27FC236}">
                <a16:creationId xmlns:a16="http://schemas.microsoft.com/office/drawing/2014/main" id="{28C92339-92E9-6203-8DB7-9676A659B822}"/>
              </a:ext>
            </a:extLst>
          </p:cNvPr>
          <p:cNvSpPr txBox="1">
            <a:spLocks/>
          </p:cNvSpPr>
          <p:nvPr/>
        </p:nvSpPr>
        <p:spPr>
          <a:xfrm>
            <a:off x="4458770" y="5347257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r=4</a:t>
            </a:r>
          </a:p>
        </p:txBody>
      </p:sp>
      <p:sp>
        <p:nvSpPr>
          <p:cNvPr id="52" name="Inhaltsplatzhalter 2">
            <a:extLst>
              <a:ext uri="{FF2B5EF4-FFF2-40B4-BE49-F238E27FC236}">
                <a16:creationId xmlns:a16="http://schemas.microsoft.com/office/drawing/2014/main" id="{97467A8D-76A6-7302-DCD3-0A38B6554FD1}"/>
              </a:ext>
            </a:extLst>
          </p:cNvPr>
          <p:cNvSpPr txBox="1">
            <a:spLocks/>
          </p:cNvSpPr>
          <p:nvPr/>
        </p:nvSpPr>
        <p:spPr>
          <a:xfrm>
            <a:off x="8207326" y="5344952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r=7</a:t>
            </a: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76B281E3-6BA7-8F65-DCB7-7E4E2DB56C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227" y="4161429"/>
            <a:ext cx="1716520" cy="1160788"/>
          </a:xfrm>
          <a:prstGeom prst="rect">
            <a:avLst/>
          </a:prstGeom>
        </p:spPr>
      </p:pic>
      <p:sp>
        <p:nvSpPr>
          <p:cNvPr id="55" name="Inhaltsplatzhalter 2">
            <a:extLst>
              <a:ext uri="{FF2B5EF4-FFF2-40B4-BE49-F238E27FC236}">
                <a16:creationId xmlns:a16="http://schemas.microsoft.com/office/drawing/2014/main" id="{5CFE4168-7406-1DF3-4E84-0083E44CD342}"/>
              </a:ext>
            </a:extLst>
          </p:cNvPr>
          <p:cNvSpPr txBox="1">
            <a:spLocks/>
          </p:cNvSpPr>
          <p:nvPr/>
        </p:nvSpPr>
        <p:spPr>
          <a:xfrm>
            <a:off x="1111633" y="5342385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0 %</a:t>
            </a:r>
          </a:p>
        </p:txBody>
      </p: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9D863A20-C68B-3DD3-9C7B-28C00E813E39}"/>
              </a:ext>
            </a:extLst>
          </p:cNvPr>
          <p:cNvSpPr txBox="1">
            <a:spLocks/>
          </p:cNvSpPr>
          <p:nvPr/>
        </p:nvSpPr>
        <p:spPr>
          <a:xfrm>
            <a:off x="3164626" y="5343101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82 %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F5CF89B7-BDAA-F049-5F20-C710C31F32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9133" y="4168295"/>
            <a:ext cx="1693658" cy="112037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5108EA4C-82BE-7C27-F827-D88CEA6183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8911" y="4170339"/>
            <a:ext cx="1786367" cy="1180645"/>
          </a:xfrm>
          <a:prstGeom prst="rect">
            <a:avLst/>
          </a:prstGeom>
        </p:spPr>
      </p:pic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C258376D-C392-DDB5-37A5-636BA0F8FAB7}"/>
              </a:ext>
            </a:extLst>
          </p:cNvPr>
          <p:cNvSpPr txBox="1">
            <a:spLocks/>
          </p:cNvSpPr>
          <p:nvPr/>
        </p:nvSpPr>
        <p:spPr>
          <a:xfrm>
            <a:off x="4972811" y="5349560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74 %</a:t>
            </a:r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359E1174-FF62-72DD-82C4-DD817C1236BE}"/>
              </a:ext>
            </a:extLst>
          </p:cNvPr>
          <p:cNvSpPr txBox="1">
            <a:spLocks/>
          </p:cNvSpPr>
          <p:nvPr/>
        </p:nvSpPr>
        <p:spPr>
          <a:xfrm>
            <a:off x="6846546" y="5350984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81 %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A1B02063-C06F-231A-D29F-50B48DF65B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45841" y="4194218"/>
            <a:ext cx="1741644" cy="1150142"/>
          </a:xfrm>
          <a:prstGeom prst="rect">
            <a:avLst/>
          </a:prstGeom>
        </p:spPr>
      </p:pic>
      <p:sp>
        <p:nvSpPr>
          <p:cNvPr id="65" name="Inhaltsplatzhalter 2">
            <a:extLst>
              <a:ext uri="{FF2B5EF4-FFF2-40B4-BE49-F238E27FC236}">
                <a16:creationId xmlns:a16="http://schemas.microsoft.com/office/drawing/2014/main" id="{7CE0B129-2B26-03A7-161A-31B3F32F90F3}"/>
              </a:ext>
            </a:extLst>
          </p:cNvPr>
          <p:cNvSpPr txBox="1">
            <a:spLocks/>
          </p:cNvSpPr>
          <p:nvPr/>
        </p:nvSpPr>
        <p:spPr>
          <a:xfrm>
            <a:off x="8673805" y="5344360"/>
            <a:ext cx="1447800" cy="343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-14 %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DB1902F6-E409-1031-CE36-908B223087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17650" y="4182866"/>
            <a:ext cx="1716848" cy="11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707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01D020-F5FA-5EB9-6AEC-B14EA8A34A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C7242E-52D2-2114-686C-4CAA971FB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de-CH" dirty="0"/>
            </a:br>
            <a:r>
              <a:rPr lang="de-CH" b="0" dirty="0"/>
              <a:t>Dataset 2: MNIST Digit Binary Classification</a:t>
            </a:r>
            <a:endParaRPr lang="en-US" b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BC509B-723A-D93A-86ED-9BCAF4C22D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1016590"/>
            <a:ext cx="8516451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Trying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use</a:t>
            </a:r>
            <a:r>
              <a:rPr lang="de-CH" sz="1400" dirty="0"/>
              <a:t> different </a:t>
            </a:r>
            <a:r>
              <a:rPr lang="de-CH" sz="1400" dirty="0" err="1"/>
              <a:t>featuremaps</a:t>
            </a:r>
            <a:r>
              <a:rPr lang="de-CH" sz="1400" dirty="0"/>
              <a:t>: </a:t>
            </a:r>
            <a:r>
              <a:rPr lang="de-CH" sz="1400" dirty="0" err="1"/>
              <a:t>ZFeatureMap</a:t>
            </a:r>
            <a:r>
              <a:rPr lang="de-CH" sz="1400" dirty="0"/>
              <a:t>, </a:t>
            </a:r>
            <a:r>
              <a:rPr lang="de-CH" sz="1400" dirty="0" err="1"/>
              <a:t>ZZFeatureMap</a:t>
            </a:r>
            <a:r>
              <a:rPr lang="de-CH" sz="1400" dirty="0"/>
              <a:t> and </a:t>
            </a:r>
            <a:r>
              <a:rPr lang="de-CH" sz="1400" dirty="0" err="1"/>
              <a:t>PauliFeatureMap</a:t>
            </a:r>
            <a:endParaRPr lang="de-CH" sz="14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ZZFeatureMap</a:t>
            </a:r>
            <a:r>
              <a:rPr lang="de-CH" sz="1200" dirty="0"/>
              <a:t> and </a:t>
            </a:r>
            <a:r>
              <a:rPr lang="de-CH" sz="1200" dirty="0" err="1"/>
              <a:t>PauliFeatureMap</a:t>
            </a:r>
            <a:r>
              <a:rPr lang="de-CH" sz="1200" dirty="0"/>
              <a:t> </a:t>
            </a:r>
            <a:r>
              <a:rPr lang="de-CH" sz="1200" dirty="0" err="1"/>
              <a:t>uses</a:t>
            </a:r>
            <a:r>
              <a:rPr lang="de-CH" sz="1200" dirty="0"/>
              <a:t> </a:t>
            </a:r>
            <a:r>
              <a:rPr lang="de-CH" sz="1200" dirty="0" err="1"/>
              <a:t>psi</a:t>
            </a:r>
            <a:r>
              <a:rPr lang="de-CH" sz="1200" dirty="0"/>
              <a:t>(</a:t>
            </a:r>
            <a:r>
              <a:rPr lang="de-CH" sz="1200" dirty="0" err="1"/>
              <a:t>x,y</a:t>
            </a:r>
            <a:r>
              <a:rPr lang="de-CH" sz="1200" dirty="0"/>
              <a:t>), and </a:t>
            </a:r>
            <a:r>
              <a:rPr lang="de-CH" sz="1200" dirty="0" err="1"/>
              <a:t>therefore</a:t>
            </a:r>
            <a:r>
              <a:rPr lang="de-CH" sz="1200" dirty="0"/>
              <a:t> </a:t>
            </a:r>
            <a:r>
              <a:rPr lang="de-CH" sz="1200" dirty="0" err="1"/>
              <a:t>it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not </a:t>
            </a:r>
            <a:r>
              <a:rPr lang="de-CH" sz="1200" dirty="0" err="1"/>
              <a:t>well</a:t>
            </a:r>
            <a:r>
              <a:rPr lang="de-CH" sz="1200" dirty="0"/>
              <a:t> </a:t>
            </a:r>
            <a:r>
              <a:rPr lang="de-CH" sz="1200" dirty="0" err="1"/>
              <a:t>suited</a:t>
            </a:r>
            <a:r>
              <a:rPr lang="de-CH" sz="1200" dirty="0"/>
              <a:t>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arcsine</a:t>
            </a:r>
            <a:r>
              <a:rPr lang="de-CH" sz="1200" dirty="0"/>
              <a:t>/linear </a:t>
            </a:r>
            <a:r>
              <a:rPr lang="de-CH" sz="1200" dirty="0" err="1"/>
              <a:t>comparision</a:t>
            </a:r>
            <a:r>
              <a:rPr lang="de-CH" sz="1200" dirty="0"/>
              <a:t> (</a:t>
            </a:r>
            <a:r>
              <a:rPr lang="de-CH" sz="1200" dirty="0" err="1"/>
              <a:t>because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dont</a:t>
            </a:r>
            <a:r>
              <a:rPr lang="de-CH" sz="1200" dirty="0"/>
              <a:t> </a:t>
            </a:r>
            <a:r>
              <a:rPr lang="de-CH" sz="1200" dirty="0" err="1"/>
              <a:t>want</a:t>
            </a:r>
            <a:r>
              <a:rPr lang="de-CH" sz="1200" dirty="0"/>
              <a:t> </a:t>
            </a:r>
            <a:r>
              <a:rPr lang="de-CH" sz="1200" dirty="0" err="1"/>
              <a:t>to</a:t>
            </a:r>
            <a:r>
              <a:rPr lang="de-CH" sz="1200" dirty="0"/>
              <a:t> </a:t>
            </a:r>
            <a:r>
              <a:rPr lang="de-CH" sz="1200" dirty="0" err="1"/>
              <a:t>use</a:t>
            </a:r>
            <a:r>
              <a:rPr lang="de-CH" sz="1200" dirty="0"/>
              <a:t> </a:t>
            </a:r>
            <a:r>
              <a:rPr lang="de-CH" sz="1200" dirty="0" err="1"/>
              <a:t>arcsine</a:t>
            </a:r>
            <a:r>
              <a:rPr lang="de-CH" sz="1200" dirty="0"/>
              <a:t> </a:t>
            </a:r>
            <a:r>
              <a:rPr lang="de-CH" sz="1200" dirty="0" err="1"/>
              <a:t>with</a:t>
            </a:r>
            <a:r>
              <a:rPr lang="de-CH" sz="1200" dirty="0"/>
              <a:t> </a:t>
            </a:r>
            <a:r>
              <a:rPr lang="de-CH" sz="1200" dirty="0" err="1"/>
              <a:t>psi</a:t>
            </a:r>
            <a:r>
              <a:rPr lang="de-CH" sz="1200" dirty="0"/>
              <a:t>(</a:t>
            </a:r>
            <a:r>
              <a:rPr lang="de-CH" sz="1200" dirty="0" err="1"/>
              <a:t>x,y</a:t>
            </a:r>
            <a:r>
              <a:rPr lang="de-CH" sz="1200" dirty="0"/>
              <a:t>)). 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For</a:t>
            </a:r>
            <a:r>
              <a:rPr lang="de-CH" sz="1200" dirty="0"/>
              <a:t> a </a:t>
            </a:r>
            <a:r>
              <a:rPr lang="de-CH" sz="1200" dirty="0" err="1"/>
              <a:t>better</a:t>
            </a:r>
            <a:r>
              <a:rPr lang="de-CH" sz="1200" dirty="0"/>
              <a:t> </a:t>
            </a:r>
            <a:r>
              <a:rPr lang="de-CH" sz="1200" dirty="0" err="1"/>
              <a:t>comparision</a:t>
            </a:r>
            <a:r>
              <a:rPr lang="de-CH" sz="1200" dirty="0"/>
              <a:t> </a:t>
            </a:r>
            <a:r>
              <a:rPr lang="de-CH" sz="1200" dirty="0" err="1"/>
              <a:t>we</a:t>
            </a:r>
            <a:r>
              <a:rPr lang="de-CH" sz="1200" dirty="0"/>
              <a:t> </a:t>
            </a:r>
            <a:r>
              <a:rPr lang="de-CH" sz="1200" dirty="0" err="1"/>
              <a:t>take</a:t>
            </a:r>
            <a:r>
              <a:rPr lang="de-CH" sz="1200" dirty="0"/>
              <a:t> </a:t>
            </a:r>
            <a:r>
              <a:rPr lang="de-CH" sz="1200" dirty="0" err="1"/>
              <a:t>ZFeatureMap</a:t>
            </a:r>
            <a:r>
              <a:rPr lang="de-CH" sz="1200" dirty="0"/>
              <a:t>, </a:t>
            </a:r>
            <a:r>
              <a:rPr lang="de-CH" sz="1200" dirty="0" err="1"/>
              <a:t>which</a:t>
            </a:r>
            <a:r>
              <a:rPr lang="de-CH" sz="1200" dirty="0"/>
              <a:t> </a:t>
            </a:r>
            <a:r>
              <a:rPr lang="de-CH" sz="1200" dirty="0" err="1"/>
              <a:t>only</a:t>
            </a:r>
            <a:r>
              <a:rPr lang="de-CH" sz="1200" dirty="0"/>
              <a:t> </a:t>
            </a:r>
            <a:r>
              <a:rPr lang="de-CH" sz="1200" dirty="0" err="1"/>
              <a:t>uses</a:t>
            </a:r>
            <a:r>
              <a:rPr lang="de-CH" sz="1200" dirty="0"/>
              <a:t> </a:t>
            </a:r>
            <a:r>
              <a:rPr lang="de-CH" sz="1200" dirty="0" err="1"/>
              <a:t>psi</a:t>
            </a:r>
            <a:r>
              <a:rPr lang="de-CH" sz="1200" dirty="0"/>
              <a:t>-identity</a:t>
            </a:r>
          </a:p>
          <a:p>
            <a:pPr marL="789750" lvl="5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900" dirty="0"/>
              <a:t>Linear </a:t>
            </a:r>
            <a:r>
              <a:rPr lang="de-CH" sz="900" dirty="0" err="1"/>
              <a:t>encoding</a:t>
            </a:r>
            <a:r>
              <a:rPr lang="de-CH" sz="900" dirty="0"/>
              <a:t> </a:t>
            </a:r>
            <a:r>
              <a:rPr lang="de-CH" sz="900" dirty="0" err="1"/>
              <a:t>is</a:t>
            </a:r>
            <a:r>
              <a:rPr lang="de-CH" sz="900" dirty="0"/>
              <a:t> </a:t>
            </a:r>
            <a:r>
              <a:rPr lang="de-CH" sz="900" dirty="0" err="1"/>
              <a:t>better</a:t>
            </a:r>
            <a:r>
              <a:rPr lang="de-CH" sz="900" dirty="0"/>
              <a:t> </a:t>
            </a:r>
            <a:r>
              <a:rPr lang="de-CH" sz="900" dirty="0" err="1"/>
              <a:t>suited</a:t>
            </a:r>
            <a:r>
              <a:rPr lang="de-CH" sz="900" dirty="0"/>
              <a:t> (</a:t>
            </a:r>
            <a:r>
              <a:rPr lang="de-CH" sz="900" dirty="0" err="1"/>
              <a:t>then</a:t>
            </a:r>
            <a:r>
              <a:rPr lang="de-CH" sz="900" dirty="0"/>
              <a:t> </a:t>
            </a:r>
            <a:r>
              <a:rPr lang="de-CH" sz="900" dirty="0" err="1"/>
              <a:t>arcsine</a:t>
            </a:r>
            <a:r>
              <a:rPr lang="de-CH" sz="900" dirty="0"/>
              <a:t>) </a:t>
            </a:r>
            <a:r>
              <a:rPr lang="de-CH" sz="900" dirty="0" err="1"/>
              <a:t>with</a:t>
            </a:r>
            <a:r>
              <a:rPr lang="de-CH" sz="900" dirty="0"/>
              <a:t> 80 % </a:t>
            </a:r>
            <a:r>
              <a:rPr lang="de-CH" sz="900" dirty="0" err="1"/>
              <a:t>accuracy</a:t>
            </a:r>
            <a:r>
              <a:rPr lang="de-CH" sz="900" dirty="0"/>
              <a:t> in r=1 (</a:t>
            </a:r>
            <a:r>
              <a:rPr lang="de-CH" sz="900" dirty="0" err="1"/>
              <a:t>images</a:t>
            </a:r>
            <a:r>
              <a:rPr lang="de-CH" sz="900" dirty="0"/>
              <a:t> </a:t>
            </a:r>
            <a:r>
              <a:rPr lang="de-CH" sz="900" dirty="0" err="1"/>
              <a:t>with</a:t>
            </a:r>
            <a:r>
              <a:rPr lang="de-CH" sz="900" dirty="0"/>
              <a:t> </a:t>
            </a:r>
            <a:r>
              <a:rPr lang="de-CH" sz="900" dirty="0" err="1"/>
              <a:t>low</a:t>
            </a:r>
            <a:r>
              <a:rPr lang="de-CH" sz="900" dirty="0"/>
              <a:t> </a:t>
            </a:r>
            <a:r>
              <a:rPr lang="de-CH" sz="900" dirty="0" err="1"/>
              <a:t>frequency</a:t>
            </a:r>
            <a:r>
              <a:rPr lang="de-CH" sz="900" dirty="0"/>
              <a:t> </a:t>
            </a:r>
            <a:r>
              <a:rPr lang="de-CH" sz="900" dirty="0" err="1"/>
              <a:t>components</a:t>
            </a:r>
            <a:r>
              <a:rPr lang="de-CH" sz="900" dirty="0"/>
              <a:t>)</a:t>
            </a:r>
          </a:p>
          <a:p>
            <a:pPr marL="789750" lvl="5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900" dirty="0" err="1"/>
              <a:t>Arcsine</a:t>
            </a:r>
            <a:r>
              <a:rPr lang="de-CH" sz="900" dirty="0"/>
              <a:t> </a:t>
            </a:r>
            <a:r>
              <a:rPr lang="de-CH" sz="900" dirty="0" err="1"/>
              <a:t>encoding</a:t>
            </a:r>
            <a:r>
              <a:rPr lang="de-CH" sz="900" dirty="0"/>
              <a:t> </a:t>
            </a:r>
            <a:r>
              <a:rPr lang="de-CH" sz="900" dirty="0" err="1"/>
              <a:t>is</a:t>
            </a:r>
            <a:r>
              <a:rPr lang="de-CH" sz="900" dirty="0"/>
              <a:t> </a:t>
            </a:r>
            <a:r>
              <a:rPr lang="de-CH" sz="900" dirty="0" err="1"/>
              <a:t>better</a:t>
            </a:r>
            <a:r>
              <a:rPr lang="de-CH" sz="900" dirty="0"/>
              <a:t> </a:t>
            </a:r>
            <a:r>
              <a:rPr lang="de-CH" sz="900" dirty="0" err="1"/>
              <a:t>if</a:t>
            </a:r>
            <a:r>
              <a:rPr lang="de-CH" sz="900" dirty="0"/>
              <a:t> </a:t>
            </a:r>
            <a:r>
              <a:rPr lang="de-CH" sz="900" dirty="0" err="1"/>
              <a:t>images</a:t>
            </a:r>
            <a:r>
              <a:rPr lang="de-CH" sz="900" dirty="0"/>
              <a:t> </a:t>
            </a:r>
            <a:r>
              <a:rPr lang="de-CH" sz="900" dirty="0" err="1"/>
              <a:t>are</a:t>
            </a:r>
            <a:r>
              <a:rPr lang="de-CH" sz="900" dirty="0"/>
              <a:t> </a:t>
            </a:r>
            <a:r>
              <a:rPr lang="de-CH" sz="900" dirty="0" err="1"/>
              <a:t>more</a:t>
            </a:r>
            <a:r>
              <a:rPr lang="de-CH" sz="900" dirty="0"/>
              <a:t> </a:t>
            </a:r>
            <a:r>
              <a:rPr lang="de-CH" sz="900" dirty="0" err="1"/>
              <a:t>complex</a:t>
            </a:r>
            <a:r>
              <a:rPr lang="de-CH" sz="900" dirty="0"/>
              <a:t> (</a:t>
            </a:r>
            <a:r>
              <a:rPr lang="de-CH" sz="900" dirty="0" err="1"/>
              <a:t>more</a:t>
            </a:r>
            <a:r>
              <a:rPr lang="de-CH" sz="900" dirty="0"/>
              <a:t> </a:t>
            </a:r>
            <a:r>
              <a:rPr lang="de-CH" sz="900" dirty="0" err="1"/>
              <a:t>details</a:t>
            </a:r>
            <a:r>
              <a:rPr lang="de-CH" sz="900" dirty="0"/>
              <a:t>, </a:t>
            </a:r>
            <a:r>
              <a:rPr lang="de-CH" sz="900" dirty="0" err="1"/>
              <a:t>images</a:t>
            </a:r>
            <a:r>
              <a:rPr lang="de-CH" sz="900" dirty="0"/>
              <a:t> </a:t>
            </a:r>
            <a:r>
              <a:rPr lang="de-CH" sz="900" dirty="0" err="1"/>
              <a:t>with</a:t>
            </a:r>
            <a:r>
              <a:rPr lang="de-CH" sz="900" dirty="0"/>
              <a:t> </a:t>
            </a:r>
            <a:r>
              <a:rPr lang="de-CH" sz="900" dirty="0" err="1"/>
              <a:t>low</a:t>
            </a:r>
            <a:r>
              <a:rPr lang="de-CH" sz="900" dirty="0"/>
              <a:t> </a:t>
            </a:r>
            <a:r>
              <a:rPr lang="de-CH" sz="900" dirty="0" err="1"/>
              <a:t>frequency</a:t>
            </a:r>
            <a:r>
              <a:rPr lang="de-CH" sz="900" dirty="0"/>
              <a:t> </a:t>
            </a:r>
            <a:r>
              <a:rPr lang="de-CH" sz="900" dirty="0" err="1"/>
              <a:t>components</a:t>
            </a:r>
            <a:r>
              <a:rPr lang="de-CH" sz="900" dirty="0"/>
              <a:t>), </a:t>
            </a:r>
            <a:r>
              <a:rPr lang="de-CH" sz="900" dirty="0" err="1"/>
              <a:t>because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more</a:t>
            </a:r>
            <a:r>
              <a:rPr lang="de-CH" sz="900" dirty="0"/>
              <a:t> </a:t>
            </a:r>
            <a:r>
              <a:rPr lang="de-CH" sz="900" dirty="0" err="1"/>
              <a:t>complex</a:t>
            </a:r>
            <a:r>
              <a:rPr lang="de-CH" sz="900" dirty="0"/>
              <a:t> </a:t>
            </a:r>
            <a:r>
              <a:rPr lang="de-CH" sz="900" dirty="0" err="1"/>
              <a:t>behaviour</a:t>
            </a:r>
            <a:endParaRPr lang="de-CH" sz="9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Accuracy</a:t>
            </a:r>
            <a:r>
              <a:rPr lang="de-CH" sz="1200" dirty="0"/>
              <a:t> Plateau: </a:t>
            </a:r>
            <a:r>
              <a:rPr lang="de-CH" sz="1200" dirty="0" err="1"/>
              <a:t>Increasing</a:t>
            </a:r>
            <a:r>
              <a:rPr lang="de-CH" sz="1200" dirty="0"/>
              <a:t> </a:t>
            </a:r>
            <a:r>
              <a:rPr lang="de-CH" sz="1200" dirty="0" err="1"/>
              <a:t>rep</a:t>
            </a:r>
            <a:r>
              <a:rPr lang="de-CH" sz="1200" dirty="0"/>
              <a:t> </a:t>
            </a:r>
            <a:r>
              <a:rPr lang="de-CH" sz="1200" dirty="0" err="1"/>
              <a:t>rates</a:t>
            </a:r>
            <a:r>
              <a:rPr lang="de-CH" sz="1200" dirty="0"/>
              <a:t> (1,3,…,15) </a:t>
            </a:r>
            <a:r>
              <a:rPr lang="de-CH" sz="1200" dirty="0" err="1"/>
              <a:t>does</a:t>
            </a:r>
            <a:r>
              <a:rPr lang="de-CH" sz="1200" dirty="0"/>
              <a:t> not </a:t>
            </a:r>
            <a:r>
              <a:rPr lang="de-CH" sz="1200" dirty="0" err="1"/>
              <a:t>improve</a:t>
            </a:r>
            <a:r>
              <a:rPr lang="de-CH" sz="1200" dirty="0"/>
              <a:t> </a:t>
            </a:r>
            <a:r>
              <a:rPr lang="de-CH" sz="1200" dirty="0" err="1"/>
              <a:t>accuracy</a:t>
            </a:r>
            <a:r>
              <a:rPr lang="de-CH" sz="1200" dirty="0"/>
              <a:t> (in 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Resource</a:t>
            </a:r>
            <a:r>
              <a:rPr lang="de-CH" sz="1200" dirty="0"/>
              <a:t> </a:t>
            </a:r>
            <a:r>
              <a:rPr lang="de-CH" sz="1200" dirty="0" err="1"/>
              <a:t>Cost</a:t>
            </a:r>
            <a:r>
              <a:rPr lang="de-CH" sz="1200" dirty="0"/>
              <a:t>: Higher </a:t>
            </a:r>
            <a:r>
              <a:rPr lang="de-CH" sz="1200" dirty="0" err="1"/>
              <a:t>rep</a:t>
            </a:r>
            <a:r>
              <a:rPr lang="de-CH" sz="1200" dirty="0"/>
              <a:t> </a:t>
            </a:r>
            <a:r>
              <a:rPr lang="de-CH" sz="1200" dirty="0" err="1"/>
              <a:t>rates</a:t>
            </a:r>
            <a:r>
              <a:rPr lang="de-CH" sz="1200" dirty="0"/>
              <a:t> </a:t>
            </a:r>
            <a:r>
              <a:rPr lang="de-CH" sz="1200" dirty="0" err="1"/>
              <a:t>increase</a:t>
            </a:r>
            <a:r>
              <a:rPr lang="de-CH" sz="1200" dirty="0"/>
              <a:t> </a:t>
            </a:r>
            <a:r>
              <a:rPr lang="de-CH" sz="1200" dirty="0" err="1"/>
              <a:t>computation</a:t>
            </a:r>
            <a:r>
              <a:rPr lang="de-CH" sz="1200" dirty="0"/>
              <a:t> time and </a:t>
            </a:r>
            <a:r>
              <a:rPr lang="de-CH" sz="1200" dirty="0" err="1"/>
              <a:t>memory</a:t>
            </a:r>
            <a:r>
              <a:rPr lang="de-CH" sz="1200" dirty="0"/>
              <a:t> </a:t>
            </a:r>
            <a:r>
              <a:rPr lang="de-CH" sz="1200" dirty="0" err="1"/>
              <a:t>usage</a:t>
            </a:r>
            <a:r>
              <a:rPr lang="de-CH" sz="1200" dirty="0"/>
              <a:t> (</a:t>
            </a:r>
            <a:r>
              <a:rPr lang="de-CH" sz="1200" dirty="0" err="1"/>
              <a:t>MemoryError</a:t>
            </a:r>
            <a:r>
              <a:rPr lang="de-CH" sz="1200" dirty="0"/>
              <a:t>). 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/>
              <a:t>Optimal </a:t>
            </a:r>
            <a:r>
              <a:rPr lang="de-CH" sz="1200" dirty="0" err="1"/>
              <a:t>rep</a:t>
            </a:r>
            <a:r>
              <a:rPr lang="de-CH" sz="1200" dirty="0"/>
              <a:t> rate: 1-3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sufficient</a:t>
            </a:r>
            <a:r>
              <a:rPr lang="de-CH" sz="1200" dirty="0"/>
              <a:t> </a:t>
            </a:r>
            <a:r>
              <a:rPr lang="de-CH" sz="1200" dirty="0" err="1"/>
              <a:t>for</a:t>
            </a:r>
            <a:r>
              <a:rPr lang="de-CH" sz="1200" dirty="0"/>
              <a:t> optimal </a:t>
            </a:r>
            <a:r>
              <a:rPr lang="de-CH" sz="1200" dirty="0" err="1"/>
              <a:t>performance</a:t>
            </a:r>
            <a:r>
              <a:rPr lang="de-CH" sz="1200" dirty="0"/>
              <a:t> (</a:t>
            </a:r>
            <a:r>
              <a:rPr lang="de-CH" sz="1200" dirty="0" err="1"/>
              <a:t>regarding</a:t>
            </a:r>
            <a:r>
              <a:rPr lang="de-CH" sz="1200" dirty="0"/>
              <a:t> </a:t>
            </a:r>
            <a:r>
              <a:rPr lang="de-CH" sz="1200" dirty="0" err="1"/>
              <a:t>to</a:t>
            </a:r>
            <a:r>
              <a:rPr lang="de-CH" sz="1200" dirty="0"/>
              <a:t> all </a:t>
            </a:r>
            <a:r>
              <a:rPr lang="de-CH" sz="1200" dirty="0" err="1"/>
              <a:t>featuremaps</a:t>
            </a:r>
            <a:r>
              <a:rPr lang="de-CH" sz="1200" dirty="0"/>
              <a:t>)</a:t>
            </a:r>
            <a:endParaRPr lang="de-CH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/>
              <a:t>Dataset and </a:t>
            </a:r>
            <a:r>
              <a:rPr lang="de-CH" sz="1200" dirty="0" err="1"/>
              <a:t>task</a:t>
            </a:r>
            <a:r>
              <a:rPr lang="de-CH" sz="1200" dirty="0"/>
              <a:t> (</a:t>
            </a:r>
            <a:r>
              <a:rPr lang="de-CH" sz="1200" dirty="0" err="1"/>
              <a:t>classify</a:t>
            </a:r>
            <a:r>
              <a:rPr lang="de-CH" sz="1200" dirty="0"/>
              <a:t> 4 and 5) </a:t>
            </a:r>
            <a:r>
              <a:rPr lang="de-CH" sz="1200" dirty="0" err="1"/>
              <a:t>may</a:t>
            </a:r>
            <a:r>
              <a:rPr lang="de-CH" sz="1200" dirty="0"/>
              <a:t> not </a:t>
            </a:r>
            <a:r>
              <a:rPr lang="de-CH" sz="1200" dirty="0" err="1"/>
              <a:t>be</a:t>
            </a:r>
            <a:r>
              <a:rPr lang="de-CH" sz="1200" dirty="0"/>
              <a:t> </a:t>
            </a:r>
            <a:r>
              <a:rPr lang="de-CH" sz="1200" dirty="0" err="1"/>
              <a:t>complex</a:t>
            </a:r>
            <a:r>
              <a:rPr lang="de-CH" sz="1200" dirty="0"/>
              <a:t> </a:t>
            </a:r>
            <a:r>
              <a:rPr lang="de-CH" sz="1200" dirty="0" err="1"/>
              <a:t>enough</a:t>
            </a:r>
            <a:r>
              <a:rPr lang="de-CH" sz="1200" dirty="0"/>
              <a:t> </a:t>
            </a:r>
            <a:r>
              <a:rPr lang="de-CH" sz="1200" dirty="0" err="1"/>
              <a:t>that</a:t>
            </a:r>
            <a:r>
              <a:rPr lang="de-CH" sz="1200" dirty="0"/>
              <a:t> </a:t>
            </a:r>
            <a:r>
              <a:rPr lang="de-CH" sz="1200" dirty="0" err="1"/>
              <a:t>benefit</a:t>
            </a:r>
            <a:r>
              <a:rPr lang="de-CH" sz="1200" dirty="0"/>
              <a:t> </a:t>
            </a:r>
            <a:r>
              <a:rPr lang="de-CH" sz="1200" dirty="0" err="1"/>
              <a:t>from</a:t>
            </a:r>
            <a:r>
              <a:rPr lang="de-CH" sz="1200" dirty="0"/>
              <a:t> </a:t>
            </a:r>
            <a:r>
              <a:rPr lang="de-CH" sz="1200" dirty="0" err="1"/>
              <a:t>increased</a:t>
            </a:r>
            <a:r>
              <a:rPr lang="de-CH" sz="1200" dirty="0"/>
              <a:t> </a:t>
            </a:r>
            <a:r>
              <a:rPr lang="de-CH" sz="1200" dirty="0" err="1"/>
              <a:t>circuit</a:t>
            </a:r>
            <a:r>
              <a:rPr lang="de-CH" sz="1200" dirty="0"/>
              <a:t> </a:t>
            </a:r>
            <a:r>
              <a:rPr lang="de-CH" sz="1200" dirty="0" err="1"/>
              <a:t>complexity</a:t>
            </a:r>
            <a:r>
              <a:rPr lang="de-CH" sz="1200" dirty="0"/>
              <a:t> (i.e. </a:t>
            </a:r>
            <a:r>
              <a:rPr lang="de-CH" sz="1200" dirty="0" err="1"/>
              <a:t>higher</a:t>
            </a:r>
            <a:r>
              <a:rPr lang="de-CH" sz="1200" dirty="0"/>
              <a:t> </a:t>
            </a:r>
            <a:r>
              <a:rPr lang="de-CH" sz="1200" dirty="0" err="1"/>
              <a:t>rep</a:t>
            </a:r>
            <a:r>
              <a:rPr lang="de-CH" sz="1200" dirty="0"/>
              <a:t> </a:t>
            </a:r>
            <a:r>
              <a:rPr lang="de-CH" sz="1200" dirty="0" err="1"/>
              <a:t>rates</a:t>
            </a:r>
            <a:r>
              <a:rPr lang="de-CH" sz="1200" dirty="0"/>
              <a:t>)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The </a:t>
            </a:r>
            <a:r>
              <a:rPr lang="de-CH" sz="1400" dirty="0" err="1"/>
              <a:t>target</a:t>
            </a:r>
            <a:r>
              <a:rPr lang="de-CH" sz="1400" dirty="0"/>
              <a:t> </a:t>
            </a:r>
            <a:r>
              <a:rPr lang="de-CH" sz="1400" dirty="0" err="1"/>
              <a:t>function</a:t>
            </a:r>
            <a:r>
              <a:rPr lang="de-CH" sz="1400" dirty="0"/>
              <a:t>, </a:t>
            </a:r>
            <a:r>
              <a:rPr lang="de-CH" sz="1400" dirty="0" err="1"/>
              <a:t>which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quantum</a:t>
            </a:r>
            <a:r>
              <a:rPr lang="de-CH" sz="1400" dirty="0"/>
              <a:t> </a:t>
            </a:r>
            <a:r>
              <a:rPr lang="de-CH" sz="1400" dirty="0" err="1"/>
              <a:t>kernel</a:t>
            </a:r>
            <a:r>
              <a:rPr lang="de-CH" sz="1400" dirty="0"/>
              <a:t> </a:t>
            </a:r>
            <a:r>
              <a:rPr lang="de-CH" sz="1400" dirty="0" err="1"/>
              <a:t>is</a:t>
            </a:r>
            <a:r>
              <a:rPr lang="de-CH" sz="1400" dirty="0"/>
              <a:t> </a:t>
            </a:r>
            <a:r>
              <a:rPr lang="de-CH" sz="1400" dirty="0" err="1"/>
              <a:t>trying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approximate</a:t>
            </a:r>
            <a:r>
              <a:rPr lang="de-CH" sz="1400" dirty="0"/>
              <a:t>, </a:t>
            </a:r>
            <a:r>
              <a:rPr lang="de-CH" sz="1400" dirty="0" err="1"/>
              <a:t>might</a:t>
            </a:r>
            <a:r>
              <a:rPr lang="de-CH" sz="1400" dirty="0"/>
              <a:t> «</a:t>
            </a:r>
            <a:r>
              <a:rPr lang="de-CH" sz="1400" dirty="0" err="1"/>
              <a:t>saturate</a:t>
            </a:r>
            <a:r>
              <a:rPr lang="de-CH" sz="1400" dirty="0"/>
              <a:t>» </a:t>
            </a:r>
            <a:r>
              <a:rPr lang="de-CH" sz="1400" dirty="0" err="1"/>
              <a:t>atfter</a:t>
            </a:r>
            <a:r>
              <a:rPr lang="de-CH" sz="1400" dirty="0"/>
              <a:t> a </a:t>
            </a:r>
            <a:r>
              <a:rPr lang="de-CH" sz="1400" dirty="0" err="1"/>
              <a:t>certain</a:t>
            </a:r>
            <a:r>
              <a:rPr lang="de-CH" sz="1400" dirty="0"/>
              <a:t> </a:t>
            </a:r>
            <a:r>
              <a:rPr lang="de-CH" sz="1400" dirty="0" err="1"/>
              <a:t>point</a:t>
            </a:r>
            <a:r>
              <a:rPr lang="de-CH" sz="1400" dirty="0"/>
              <a:t> (</a:t>
            </a:r>
            <a:r>
              <a:rPr lang="de-CH" sz="1400" dirty="0" err="1"/>
              <a:t>adding</a:t>
            </a:r>
            <a:r>
              <a:rPr lang="de-CH" sz="1400" dirty="0"/>
              <a:t> </a:t>
            </a:r>
            <a:r>
              <a:rPr lang="de-CH" sz="1400" dirty="0" err="1"/>
              <a:t>more</a:t>
            </a:r>
            <a:r>
              <a:rPr lang="de-CH" sz="1400" dirty="0"/>
              <a:t> </a:t>
            </a:r>
            <a:r>
              <a:rPr lang="de-CH" sz="1400" dirty="0" err="1"/>
              <a:t>reps</a:t>
            </a:r>
            <a:r>
              <a:rPr lang="de-CH" sz="1400" dirty="0"/>
              <a:t> </a:t>
            </a:r>
            <a:r>
              <a:rPr lang="de-CH" sz="1400" dirty="0" err="1"/>
              <a:t>doesn’t</a:t>
            </a:r>
            <a:r>
              <a:rPr lang="de-CH" sz="1400" dirty="0"/>
              <a:t> </a:t>
            </a:r>
            <a:r>
              <a:rPr lang="de-CH" sz="1400" dirty="0" err="1"/>
              <a:t>provide</a:t>
            </a:r>
            <a:r>
              <a:rPr lang="de-CH" sz="1400" dirty="0"/>
              <a:t> additional </a:t>
            </a:r>
            <a:r>
              <a:rPr lang="de-CH" sz="1400" dirty="0" err="1"/>
              <a:t>capacity</a:t>
            </a:r>
            <a:r>
              <a:rPr lang="de-CH" sz="1400" dirty="0"/>
              <a:t>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represent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</a:t>
            </a:r>
            <a:r>
              <a:rPr lang="de-CH" sz="1400" dirty="0" err="1"/>
              <a:t>data</a:t>
            </a:r>
            <a:r>
              <a:rPr lang="de-CH" sz="1400" dirty="0"/>
              <a:t> </a:t>
            </a:r>
            <a:r>
              <a:rPr lang="de-CH" sz="1400" dirty="0" err="1"/>
              <a:t>better</a:t>
            </a:r>
            <a:r>
              <a:rPr lang="de-CH" sz="1400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Similar</a:t>
            </a:r>
            <a:r>
              <a:rPr lang="de-CH" sz="1200" dirty="0"/>
              <a:t> </a:t>
            </a:r>
            <a:r>
              <a:rPr lang="de-CH" sz="1200" dirty="0" err="1"/>
              <a:t>of</a:t>
            </a:r>
            <a:r>
              <a:rPr lang="de-CH" sz="1200" dirty="0"/>
              <a:t> </a:t>
            </a:r>
            <a:r>
              <a:rPr lang="de-CH" sz="1200" dirty="0" err="1"/>
              <a:t>adding</a:t>
            </a:r>
            <a:r>
              <a:rPr lang="de-CH" sz="1200" dirty="0"/>
              <a:t> </a:t>
            </a:r>
            <a:r>
              <a:rPr lang="de-CH" sz="1200" dirty="0" err="1"/>
              <a:t>more</a:t>
            </a:r>
            <a:r>
              <a:rPr lang="de-CH" sz="1200" dirty="0"/>
              <a:t> </a:t>
            </a:r>
            <a:r>
              <a:rPr lang="de-CH" sz="1200" dirty="0" err="1"/>
              <a:t>layers</a:t>
            </a:r>
            <a:r>
              <a:rPr lang="de-CH" sz="1200" dirty="0"/>
              <a:t> </a:t>
            </a:r>
            <a:r>
              <a:rPr lang="de-CH" sz="1200" dirty="0" err="1"/>
              <a:t>to</a:t>
            </a:r>
            <a:r>
              <a:rPr lang="de-CH" sz="1200" dirty="0"/>
              <a:t> a </a:t>
            </a:r>
            <a:r>
              <a:rPr lang="de-CH" sz="1200" dirty="0" err="1"/>
              <a:t>classical</a:t>
            </a:r>
            <a:r>
              <a:rPr lang="de-CH" sz="1200" dirty="0"/>
              <a:t> NN </a:t>
            </a:r>
            <a:r>
              <a:rPr lang="de-CH" sz="1200" dirty="0" err="1"/>
              <a:t>when</a:t>
            </a:r>
            <a:r>
              <a:rPr lang="de-CH" sz="1200" dirty="0"/>
              <a:t> optimal </a:t>
            </a:r>
            <a:r>
              <a:rPr lang="de-CH" sz="1200" dirty="0" err="1"/>
              <a:t>performance</a:t>
            </a:r>
            <a:r>
              <a:rPr lang="de-CH" sz="1200" dirty="0"/>
              <a:t> </a:t>
            </a:r>
            <a:r>
              <a:rPr lang="de-CH" sz="1200" dirty="0" err="1"/>
              <a:t>is</a:t>
            </a:r>
            <a:r>
              <a:rPr lang="de-CH" sz="1200" dirty="0"/>
              <a:t> </a:t>
            </a:r>
            <a:r>
              <a:rPr lang="de-CH" sz="1200" dirty="0" err="1"/>
              <a:t>already</a:t>
            </a:r>
            <a:r>
              <a:rPr lang="de-CH" sz="1200" dirty="0"/>
              <a:t> </a:t>
            </a:r>
            <a:r>
              <a:rPr lang="de-CH" sz="1200" dirty="0" err="1"/>
              <a:t>achieved</a:t>
            </a:r>
            <a:endParaRPr lang="de-CH" sz="12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/>
              <a:t>Low </a:t>
            </a:r>
            <a:r>
              <a:rPr lang="de-CH" sz="1200" dirty="0" err="1"/>
              <a:t>reps</a:t>
            </a:r>
            <a:r>
              <a:rPr lang="de-CH" sz="1200" dirty="0"/>
              <a:t> </a:t>
            </a:r>
            <a:r>
              <a:rPr lang="de-CH" sz="1200" dirty="0" err="1"/>
              <a:t>are</a:t>
            </a:r>
            <a:r>
              <a:rPr lang="de-CH" sz="1200" dirty="0"/>
              <a:t> </a:t>
            </a:r>
            <a:r>
              <a:rPr lang="de-CH" sz="1200" dirty="0" err="1"/>
              <a:t>enough</a:t>
            </a:r>
            <a:r>
              <a:rPr lang="de-CH" sz="1200" dirty="0"/>
              <a:t>: Data </a:t>
            </a:r>
            <a:r>
              <a:rPr lang="de-CH" sz="1200" dirty="0" err="1"/>
              <a:t>set</a:t>
            </a:r>
            <a:r>
              <a:rPr lang="de-CH" sz="1200" dirty="0"/>
              <a:t> </a:t>
            </a:r>
            <a:r>
              <a:rPr lang="de-CH" sz="1200" dirty="0" err="1"/>
              <a:t>features</a:t>
            </a:r>
            <a:r>
              <a:rPr lang="de-CH" sz="1200" dirty="0"/>
              <a:t> </a:t>
            </a:r>
            <a:r>
              <a:rPr lang="de-CH" sz="1200" dirty="0" err="1"/>
              <a:t>are</a:t>
            </a:r>
            <a:r>
              <a:rPr lang="de-CH" sz="1200" dirty="0"/>
              <a:t> «</a:t>
            </a:r>
            <a:r>
              <a:rPr lang="de-CH" sz="1200" dirty="0" err="1"/>
              <a:t>clear</a:t>
            </a:r>
            <a:r>
              <a:rPr lang="de-CH" sz="1200" dirty="0"/>
              <a:t>» and </a:t>
            </a:r>
            <a:r>
              <a:rPr lang="de-CH" sz="1200" dirty="0" err="1"/>
              <a:t>there</a:t>
            </a:r>
            <a:r>
              <a:rPr lang="de-CH" sz="1200" dirty="0"/>
              <a:t> </a:t>
            </a:r>
            <a:r>
              <a:rPr lang="de-CH" sz="1200" dirty="0" err="1"/>
              <a:t>arent</a:t>
            </a:r>
            <a:r>
              <a:rPr lang="de-CH" sz="1200" dirty="0"/>
              <a:t> </a:t>
            </a:r>
            <a:r>
              <a:rPr lang="de-CH" sz="1200" dirty="0" err="1"/>
              <a:t>alot</a:t>
            </a:r>
            <a:r>
              <a:rPr lang="de-CH" sz="1200" dirty="0"/>
              <a:t> </a:t>
            </a:r>
            <a:r>
              <a:rPr lang="de-CH" sz="1200" dirty="0" err="1"/>
              <a:t>of</a:t>
            </a:r>
            <a:r>
              <a:rPr lang="de-CH" sz="1200" dirty="0"/>
              <a:t> different </a:t>
            </a:r>
            <a:r>
              <a:rPr lang="de-CH" sz="1200" dirty="0" err="1"/>
              <a:t>details</a:t>
            </a:r>
            <a:endParaRPr lang="de-CH" sz="12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 err="1"/>
              <a:t>Decision</a:t>
            </a:r>
            <a:r>
              <a:rPr lang="de-CH" sz="1200" dirty="0"/>
              <a:t> </a:t>
            </a:r>
            <a:r>
              <a:rPr lang="de-CH" sz="1200" dirty="0" err="1"/>
              <a:t>boundary</a:t>
            </a:r>
            <a:r>
              <a:rPr lang="de-CH" sz="1200" dirty="0"/>
              <a:t> </a:t>
            </a:r>
            <a:r>
              <a:rPr lang="de-CH" sz="1200" dirty="0" err="1"/>
              <a:t>might</a:t>
            </a:r>
            <a:r>
              <a:rPr lang="de-CH" sz="1200" dirty="0"/>
              <a:t> not </a:t>
            </a:r>
            <a:r>
              <a:rPr lang="de-CH" sz="1200" dirty="0" err="1"/>
              <a:t>require</a:t>
            </a:r>
            <a:r>
              <a:rPr lang="de-CH" sz="1200" dirty="0"/>
              <a:t> non-</a:t>
            </a:r>
            <a:r>
              <a:rPr lang="de-CH" sz="1200" dirty="0" err="1"/>
              <a:t>linearity</a:t>
            </a:r>
            <a:r>
              <a:rPr lang="de-CH" sz="1200" dirty="0"/>
              <a:t>, </a:t>
            </a:r>
            <a:r>
              <a:rPr lang="de-CH" sz="1200" dirty="0" err="1"/>
              <a:t>as</a:t>
            </a:r>
            <a:r>
              <a:rPr lang="de-CH" sz="1200" dirty="0"/>
              <a:t> </a:t>
            </a:r>
            <a:r>
              <a:rPr lang="de-CH" sz="1200" dirty="0" err="1"/>
              <a:t>edges</a:t>
            </a:r>
            <a:r>
              <a:rPr lang="de-CH" sz="1200" dirty="0"/>
              <a:t> </a:t>
            </a:r>
            <a:r>
              <a:rPr lang="de-CH" sz="1200" dirty="0" err="1"/>
              <a:t>or</a:t>
            </a:r>
            <a:r>
              <a:rPr lang="de-CH" sz="1200" dirty="0"/>
              <a:t> </a:t>
            </a:r>
            <a:r>
              <a:rPr lang="de-CH" sz="1200" dirty="0" err="1"/>
              <a:t>shapes</a:t>
            </a:r>
            <a:r>
              <a:rPr lang="de-CH" sz="1200" dirty="0"/>
              <a:t> </a:t>
            </a:r>
            <a:r>
              <a:rPr lang="en-US" sz="1200" dirty="0"/>
              <a:t>may already be distinguishable with simpler transformations</a:t>
            </a:r>
            <a:endParaRPr lang="de-CH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Theoretical</a:t>
            </a:r>
            <a:r>
              <a:rPr lang="de-CH" sz="1400" dirty="0"/>
              <a:t> </a:t>
            </a:r>
            <a:r>
              <a:rPr lang="de-CH" sz="1400" dirty="0" err="1"/>
              <a:t>analysis</a:t>
            </a:r>
            <a:r>
              <a:rPr lang="de-CH" sz="1400" dirty="0"/>
              <a:t>: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/>
              <a:t>Encodings: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sz="900" dirty="0"/>
              <a:t>Linear </a:t>
            </a:r>
            <a:r>
              <a:rPr lang="de-CH" sz="900" dirty="0" err="1"/>
              <a:t>encoding</a:t>
            </a:r>
            <a:r>
              <a:rPr lang="de-CH" sz="900" dirty="0"/>
              <a:t>: As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image</a:t>
            </a:r>
            <a:r>
              <a:rPr lang="de-CH" sz="900" dirty="0"/>
              <a:t> </a:t>
            </a:r>
            <a:r>
              <a:rPr lang="de-CH" sz="900" dirty="0" err="1"/>
              <a:t>complexity</a:t>
            </a:r>
            <a:r>
              <a:rPr lang="de-CH" sz="900" dirty="0"/>
              <a:t> </a:t>
            </a:r>
            <a:r>
              <a:rPr lang="de-CH" sz="900" dirty="0" err="1"/>
              <a:t>grows</a:t>
            </a:r>
            <a:r>
              <a:rPr lang="de-CH" sz="900" dirty="0"/>
              <a:t> (</a:t>
            </a:r>
            <a:r>
              <a:rPr lang="de-CH" sz="900" dirty="0" err="1"/>
              <a:t>more</a:t>
            </a:r>
            <a:r>
              <a:rPr lang="de-CH" sz="900" dirty="0"/>
              <a:t> </a:t>
            </a:r>
            <a:r>
              <a:rPr lang="de-CH" sz="900" dirty="0" err="1"/>
              <a:t>detailed</a:t>
            </a:r>
            <a:r>
              <a:rPr lang="de-CH" sz="900" dirty="0"/>
              <a:t> etc.), Fourier rank r </a:t>
            </a:r>
            <a:r>
              <a:rPr lang="de-CH" sz="900" dirty="0" err="1"/>
              <a:t>increases</a:t>
            </a:r>
            <a:r>
              <a:rPr lang="de-CH" sz="900" dirty="0"/>
              <a:t> </a:t>
            </a:r>
            <a:r>
              <a:rPr lang="de-CH" sz="900" dirty="0" err="1"/>
              <a:t>logarithmically</a:t>
            </a:r>
            <a:endParaRPr lang="de-CH" sz="900" dirty="0"/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sz="900" dirty="0" err="1"/>
              <a:t>Arcsine</a:t>
            </a:r>
            <a:r>
              <a:rPr lang="de-CH" sz="900" dirty="0"/>
              <a:t> </a:t>
            </a:r>
            <a:r>
              <a:rPr lang="de-CH" sz="900" dirty="0" err="1"/>
              <a:t>encoding</a:t>
            </a:r>
            <a:r>
              <a:rPr lang="de-CH" sz="900" dirty="0"/>
              <a:t> </a:t>
            </a:r>
            <a:r>
              <a:rPr lang="de-CH" sz="900" dirty="0" err="1"/>
              <a:t>may</a:t>
            </a:r>
            <a:r>
              <a:rPr lang="de-CH" sz="900" dirty="0"/>
              <a:t> </a:t>
            </a:r>
            <a:r>
              <a:rPr lang="de-CH" sz="900" dirty="0" err="1"/>
              <a:t>require</a:t>
            </a:r>
            <a:r>
              <a:rPr lang="de-CH" sz="900" dirty="0"/>
              <a:t> a </a:t>
            </a:r>
            <a:r>
              <a:rPr lang="de-CH" sz="900" dirty="0" err="1"/>
              <a:t>higher</a:t>
            </a:r>
            <a:r>
              <a:rPr lang="de-CH" sz="900" dirty="0"/>
              <a:t> </a:t>
            </a:r>
            <a:r>
              <a:rPr lang="de-CH" sz="900" dirty="0" err="1"/>
              <a:t>redundancy</a:t>
            </a:r>
            <a:r>
              <a:rPr lang="de-CH" sz="900" dirty="0"/>
              <a:t> (</a:t>
            </a:r>
            <a:r>
              <a:rPr lang="de-CH" sz="900" dirty="0" err="1"/>
              <a:t>repetition</a:t>
            </a:r>
            <a:r>
              <a:rPr lang="de-CH" sz="900" dirty="0"/>
              <a:t> rate) </a:t>
            </a:r>
            <a:r>
              <a:rPr lang="de-CH" sz="900" dirty="0" err="1"/>
              <a:t>to</a:t>
            </a:r>
            <a:r>
              <a:rPr lang="de-CH" sz="900" dirty="0"/>
              <a:t> match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target</a:t>
            </a:r>
            <a:r>
              <a:rPr lang="de-CH" sz="900" dirty="0"/>
              <a:t> </a:t>
            </a:r>
            <a:r>
              <a:rPr lang="de-CH" sz="900" dirty="0" err="1"/>
              <a:t>degree</a:t>
            </a:r>
            <a:endParaRPr lang="de-CH" sz="9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200" dirty="0"/>
              <a:t>Images </a:t>
            </a:r>
            <a:r>
              <a:rPr lang="de-CH" sz="1200" dirty="0" err="1"/>
              <a:t>having</a:t>
            </a:r>
            <a:r>
              <a:rPr lang="de-CH" sz="1200" dirty="0"/>
              <a:t> a feature </a:t>
            </a:r>
            <a:r>
              <a:rPr lang="de-CH" sz="1200" dirty="0" err="1"/>
              <a:t>vector</a:t>
            </a:r>
            <a:r>
              <a:rPr lang="de-CH" sz="1200" dirty="0"/>
              <a:t> (</a:t>
            </a:r>
            <a:r>
              <a:rPr lang="de-CH" sz="1200" dirty="0" err="1"/>
              <a:t>multi</a:t>
            </a:r>
            <a:r>
              <a:rPr lang="de-CH" sz="1200" dirty="0"/>
              <a:t> </a:t>
            </a:r>
            <a:r>
              <a:rPr lang="de-CH" sz="1200" dirty="0" err="1"/>
              <a:t>features</a:t>
            </a:r>
            <a:r>
              <a:rPr lang="de-CH" sz="1200" dirty="0"/>
              <a:t>) </a:t>
            </a:r>
            <a:r>
              <a:rPr lang="de-CH" sz="1200" dirty="0" err="1"/>
              <a:t>can</a:t>
            </a:r>
            <a:r>
              <a:rPr lang="de-CH" sz="1200" dirty="0"/>
              <a:t> also </a:t>
            </a:r>
            <a:r>
              <a:rPr lang="de-CH" sz="1200" dirty="0" err="1"/>
              <a:t>be</a:t>
            </a:r>
            <a:r>
              <a:rPr lang="de-CH" sz="1200" dirty="0"/>
              <a:t> </a:t>
            </a:r>
            <a:r>
              <a:rPr lang="de-CH" sz="1200" dirty="0" err="1"/>
              <a:t>represented</a:t>
            </a:r>
            <a:r>
              <a:rPr lang="de-CH" sz="1200" dirty="0"/>
              <a:t> </a:t>
            </a:r>
            <a:r>
              <a:rPr lang="de-CH" sz="1200" dirty="0" err="1"/>
              <a:t>as</a:t>
            </a:r>
            <a:r>
              <a:rPr lang="de-CH" sz="1200" dirty="0"/>
              <a:t> 2D Fourier </a:t>
            </a:r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sz="900" dirty="0"/>
              <a:t>High </a:t>
            </a:r>
            <a:r>
              <a:rPr lang="de-CH" sz="900" dirty="0" err="1"/>
              <a:t>freq</a:t>
            </a:r>
            <a:r>
              <a:rPr lang="de-CH" sz="900" dirty="0"/>
              <a:t> </a:t>
            </a:r>
            <a:r>
              <a:rPr lang="de-CH" sz="900" dirty="0" err="1"/>
              <a:t>component</a:t>
            </a:r>
            <a:r>
              <a:rPr lang="de-CH" sz="900" dirty="0"/>
              <a:t> </a:t>
            </a:r>
            <a:r>
              <a:rPr lang="de-CH" sz="900" dirty="0" err="1"/>
              <a:t>capture</a:t>
            </a:r>
            <a:r>
              <a:rPr lang="de-CH" sz="900" dirty="0"/>
              <a:t> </a:t>
            </a:r>
            <a:r>
              <a:rPr lang="de-CH" sz="900" dirty="0" err="1"/>
              <a:t>edges</a:t>
            </a:r>
            <a:r>
              <a:rPr lang="de-CH" sz="900" dirty="0"/>
              <a:t>, </a:t>
            </a:r>
            <a:r>
              <a:rPr lang="de-CH" sz="900" dirty="0" err="1"/>
              <a:t>textures</a:t>
            </a:r>
            <a:r>
              <a:rPr lang="de-CH" sz="900" dirty="0"/>
              <a:t> and </a:t>
            </a:r>
            <a:r>
              <a:rPr lang="de-CH" sz="900" dirty="0" err="1"/>
              <a:t>low</a:t>
            </a:r>
            <a:r>
              <a:rPr lang="de-CH" sz="900" dirty="0"/>
              <a:t> </a:t>
            </a:r>
            <a:r>
              <a:rPr lang="de-CH" sz="900" dirty="0" err="1"/>
              <a:t>freq</a:t>
            </a:r>
            <a:r>
              <a:rPr lang="de-CH" sz="900" dirty="0"/>
              <a:t> </a:t>
            </a:r>
            <a:r>
              <a:rPr lang="de-CH" sz="900" dirty="0" err="1"/>
              <a:t>components</a:t>
            </a:r>
            <a:r>
              <a:rPr lang="de-CH" sz="900" dirty="0"/>
              <a:t> </a:t>
            </a:r>
            <a:r>
              <a:rPr lang="de-CH" sz="900" dirty="0" err="1"/>
              <a:t>capture</a:t>
            </a:r>
            <a:r>
              <a:rPr lang="de-CH" sz="900" dirty="0"/>
              <a:t> </a:t>
            </a:r>
            <a:r>
              <a:rPr lang="de-CH" sz="900" dirty="0" err="1"/>
              <a:t>overall</a:t>
            </a:r>
            <a:r>
              <a:rPr lang="de-CH" sz="900" dirty="0"/>
              <a:t> </a:t>
            </a:r>
            <a:r>
              <a:rPr lang="de-CH" sz="900" dirty="0" err="1"/>
              <a:t>shape</a:t>
            </a:r>
            <a:r>
              <a:rPr lang="de-CH" sz="900" dirty="0"/>
              <a:t> and </a:t>
            </a:r>
            <a:r>
              <a:rPr lang="de-CH" sz="900" dirty="0" err="1"/>
              <a:t>structures</a:t>
            </a:r>
            <a:endParaRPr lang="de-CH" sz="900" dirty="0"/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de-CH" sz="900" b="1" dirty="0"/>
              <a:t>The </a:t>
            </a:r>
            <a:r>
              <a:rPr lang="de-CH" sz="900" b="1" dirty="0" err="1"/>
              <a:t>required</a:t>
            </a:r>
            <a:r>
              <a:rPr lang="de-CH" sz="900" b="1" dirty="0"/>
              <a:t> Fourier rank (</a:t>
            </a:r>
            <a:r>
              <a:rPr lang="de-CH" sz="900" b="1" dirty="0" err="1"/>
              <a:t>redundancy</a:t>
            </a:r>
            <a:r>
              <a:rPr lang="de-CH" sz="900" b="1" dirty="0"/>
              <a:t>) </a:t>
            </a:r>
            <a:r>
              <a:rPr lang="de-CH" sz="900" b="1" dirty="0" err="1"/>
              <a:t>grows</a:t>
            </a:r>
            <a:r>
              <a:rPr lang="de-CH" sz="900" b="1" dirty="0"/>
              <a:t> </a:t>
            </a:r>
            <a:r>
              <a:rPr lang="de-CH" sz="900" b="1" dirty="0" err="1"/>
              <a:t>with</a:t>
            </a:r>
            <a:r>
              <a:rPr lang="de-CH" sz="900" b="1" dirty="0"/>
              <a:t> </a:t>
            </a:r>
            <a:r>
              <a:rPr lang="de-CH" sz="900" b="1" dirty="0" err="1"/>
              <a:t>the</a:t>
            </a:r>
            <a:r>
              <a:rPr lang="de-CH" sz="900" b="1" dirty="0"/>
              <a:t> </a:t>
            </a:r>
            <a:r>
              <a:rPr lang="de-CH" sz="900" b="1" dirty="0" err="1"/>
              <a:t>image</a:t>
            </a:r>
            <a:r>
              <a:rPr lang="de-CH" sz="900" b="1" dirty="0"/>
              <a:t> </a:t>
            </a:r>
            <a:r>
              <a:rPr lang="de-CH" sz="900" b="1" dirty="0" err="1"/>
              <a:t>resolution</a:t>
            </a:r>
            <a:r>
              <a:rPr lang="de-CH" sz="900" b="1" dirty="0"/>
              <a:t> and </a:t>
            </a:r>
            <a:r>
              <a:rPr lang="de-CH" sz="900" b="1" dirty="0" err="1"/>
              <a:t>detail</a:t>
            </a:r>
            <a:endParaRPr lang="de-CH" sz="900" b="1" dirty="0"/>
          </a:p>
          <a:p>
            <a:pPr marL="789750" lvl="5" indent="-285750">
              <a:buFont typeface="Arial" panose="020B0604020202020204" pitchFamily="34" charset="0"/>
              <a:buChar char="•"/>
            </a:pPr>
            <a:endParaRPr lang="de-CH" sz="8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CH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400" dirty="0"/>
          </a:p>
          <a:p>
            <a:endParaRPr lang="de-CH" sz="1400" dirty="0"/>
          </a:p>
          <a:p>
            <a:endParaRPr lang="en-US" sz="1400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46CD5CF-87C4-7508-FF4D-EDAACB894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3178" y="4104939"/>
            <a:ext cx="1687182" cy="131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3475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CF074E-A5C4-C1FF-DA13-0C1193FA15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AF6BBC-E24B-06E2-E527-275A30974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de-CH" b="0" dirty="0"/>
            </a:br>
            <a:r>
              <a:rPr lang="de-CH" b="0" dirty="0"/>
              <a:t>Dataset 3: </a:t>
            </a:r>
            <a:r>
              <a:rPr lang="de-CH" b="0" dirty="0" err="1"/>
              <a:t>Wine</a:t>
            </a:r>
            <a:r>
              <a:rPr lang="de-CH" b="0" dirty="0"/>
              <a:t> </a:t>
            </a:r>
            <a:r>
              <a:rPr lang="de-CH" b="0" dirty="0" err="1"/>
              <a:t>quality</a:t>
            </a:r>
            <a:endParaRPr lang="en-US" b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7607FF-DFEE-5F99-9923-2A71CBA3AA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8087" y="1194066"/>
            <a:ext cx="8516451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ing multiple features (tried with 2, 5 and 8 features from the datas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 experiments gave the same accuracy around 80% (also tried each with different rep numbers)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Using </a:t>
            </a:r>
            <a:r>
              <a:rPr lang="en-US" sz="1400" dirty="0" err="1"/>
              <a:t>ZZFeatureMap</a:t>
            </a:r>
            <a:r>
              <a:rPr lang="en-US" sz="1400" dirty="0"/>
              <a:t> without special encoding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experiments took a long time, the higher the rep number was</a:t>
            </a:r>
          </a:p>
          <a:p>
            <a:pPr marL="5377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We can parallelize the multifeatured training logic / SVC training :</a:t>
            </a:r>
          </a:p>
          <a:p>
            <a:endParaRPr lang="en-US" sz="14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5302BBE-886B-1F6A-9D31-D1F8AAFC38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464" y="2714914"/>
            <a:ext cx="7011008" cy="24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01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3F6DF-401E-9B87-F122-BE22B2854E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B3E6D9-E3A4-F389-4306-FD791106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ptimal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Data </a:t>
            </a:r>
            <a:r>
              <a:rPr lang="de-CH" dirty="0" err="1"/>
              <a:t>Repetitions</a:t>
            </a:r>
            <a:r>
              <a:rPr lang="de-CH" dirty="0"/>
              <a:t> in Data Encoding</a:t>
            </a:r>
            <a:br>
              <a:rPr lang="de-CH" b="0" dirty="0"/>
            </a:br>
            <a:r>
              <a:rPr lang="de-CH" b="0" dirty="0" err="1"/>
              <a:t>Results</a:t>
            </a:r>
            <a:r>
              <a:rPr lang="de-CH" b="0" dirty="0"/>
              <a:t> (</a:t>
            </a:r>
            <a:r>
              <a:rPr lang="de-CH" b="0" dirty="0" err="1"/>
              <a:t>Keyfindings</a:t>
            </a:r>
            <a:r>
              <a:rPr lang="de-CH" b="0" dirty="0"/>
              <a:t>) &amp; </a:t>
            </a:r>
            <a:r>
              <a:rPr lang="de-CH" b="0" dirty="0" err="1"/>
              <a:t>Generalizability</a:t>
            </a:r>
            <a:endParaRPr lang="en-US" b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CFED78-5D06-E655-76C6-784AE936FC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043" y="1016590"/>
            <a:ext cx="8516451" cy="352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100" b="1" dirty="0"/>
              <a:t>Time Series Data (</a:t>
            </a:r>
            <a:r>
              <a:rPr lang="de-CH" sz="1100" b="1" dirty="0" err="1"/>
              <a:t>fits</a:t>
            </a:r>
            <a:r>
              <a:rPr lang="de-CH" sz="1100" b="1" dirty="0"/>
              <a:t> </a:t>
            </a:r>
            <a:r>
              <a:rPr lang="de-CH" sz="1100" b="1" dirty="0" err="1"/>
              <a:t>pretty</a:t>
            </a:r>
            <a:r>
              <a:rPr lang="de-CH" sz="1100" b="1" dirty="0"/>
              <a:t> </a:t>
            </a:r>
            <a:r>
              <a:rPr lang="de-CH" sz="1100" b="1" dirty="0" err="1"/>
              <a:t>well</a:t>
            </a:r>
            <a:r>
              <a:rPr lang="de-CH" sz="1100" b="1" dirty="0"/>
              <a:t> </a:t>
            </a:r>
            <a:r>
              <a:rPr lang="de-CH" sz="1100" b="1" dirty="0" err="1"/>
              <a:t>to</a:t>
            </a:r>
            <a:r>
              <a:rPr lang="de-CH" sz="1100" b="1" dirty="0"/>
              <a:t> </a:t>
            </a:r>
            <a:r>
              <a:rPr lang="de-CH" sz="1100" b="1" dirty="0" err="1"/>
              <a:t>the</a:t>
            </a:r>
            <a:r>
              <a:rPr lang="de-CH" sz="1100" b="1" dirty="0"/>
              <a:t> </a:t>
            </a:r>
            <a:r>
              <a:rPr lang="de-CH" sz="1100" b="1" dirty="0" err="1"/>
              <a:t>tested</a:t>
            </a:r>
            <a:r>
              <a:rPr lang="de-CH" sz="1100" b="1" dirty="0"/>
              <a:t> </a:t>
            </a:r>
            <a:r>
              <a:rPr lang="de-CH" sz="1100" b="1" dirty="0" err="1"/>
              <a:t>lowerbound</a:t>
            </a:r>
            <a:r>
              <a:rPr lang="de-CH" sz="1100" b="1" dirty="0"/>
              <a:t> </a:t>
            </a:r>
            <a:r>
              <a:rPr lang="de-CH" sz="1100" b="1" dirty="0" err="1"/>
              <a:t>analysis</a:t>
            </a:r>
            <a:r>
              <a:rPr lang="de-CH" sz="1100" b="1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/>
              <a:t>Temporal </a:t>
            </a:r>
            <a:r>
              <a:rPr lang="de-CH" sz="1050" dirty="0" err="1"/>
              <a:t>dependencies</a:t>
            </a:r>
            <a:r>
              <a:rPr lang="de-CH" sz="1050" dirty="0"/>
              <a:t> (</a:t>
            </a:r>
            <a:r>
              <a:rPr lang="de-CH" sz="1050" dirty="0" err="1"/>
              <a:t>past</a:t>
            </a:r>
            <a:r>
              <a:rPr lang="de-CH" sz="1050" dirty="0"/>
              <a:t> </a:t>
            </a:r>
            <a:r>
              <a:rPr lang="de-CH" sz="1050" dirty="0" err="1"/>
              <a:t>influences</a:t>
            </a:r>
            <a:r>
              <a:rPr lang="de-CH" sz="1050" dirty="0"/>
              <a:t> </a:t>
            </a:r>
            <a:r>
              <a:rPr lang="de-CH" sz="1050" dirty="0" err="1"/>
              <a:t>future</a:t>
            </a:r>
            <a:r>
              <a:rPr lang="de-CH" sz="1050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/>
              <a:t>More </a:t>
            </a:r>
            <a:r>
              <a:rPr lang="de-CH" sz="1050" dirty="0" err="1"/>
              <a:t>encoding</a:t>
            </a:r>
            <a:r>
              <a:rPr lang="de-CH" sz="1050" dirty="0"/>
              <a:t> </a:t>
            </a:r>
            <a:r>
              <a:rPr lang="de-CH" sz="1050" dirty="0" err="1"/>
              <a:t>reps</a:t>
            </a:r>
            <a:r>
              <a:rPr lang="de-CH" sz="1050" dirty="0"/>
              <a:t> </a:t>
            </a:r>
            <a:r>
              <a:rPr lang="de-CH" sz="1050" dirty="0" err="1"/>
              <a:t>improves</a:t>
            </a:r>
            <a:r>
              <a:rPr lang="de-CH" sz="1050" dirty="0"/>
              <a:t> </a:t>
            </a:r>
            <a:r>
              <a:rPr lang="de-CH" sz="1050" dirty="0" err="1"/>
              <a:t>expressivity</a:t>
            </a:r>
            <a:r>
              <a:rPr lang="de-CH" sz="1050" dirty="0"/>
              <a:t>, </a:t>
            </a:r>
            <a:r>
              <a:rPr lang="de-CH" sz="1050" dirty="0" err="1"/>
              <a:t>capturing</a:t>
            </a:r>
            <a:r>
              <a:rPr lang="de-CH" sz="1050" dirty="0"/>
              <a:t> </a:t>
            </a:r>
            <a:r>
              <a:rPr lang="de-CH" sz="1050" dirty="0" err="1"/>
              <a:t>complex</a:t>
            </a:r>
            <a:r>
              <a:rPr lang="de-CH" sz="1050" dirty="0"/>
              <a:t> </a:t>
            </a:r>
            <a:r>
              <a:rPr lang="de-CH" sz="1050" dirty="0" err="1"/>
              <a:t>sequential</a:t>
            </a:r>
            <a:r>
              <a:rPr lang="de-CH" sz="1050" dirty="0"/>
              <a:t> </a:t>
            </a:r>
            <a:r>
              <a:rPr lang="de-CH" sz="1050" dirty="0" err="1"/>
              <a:t>relationships</a:t>
            </a:r>
            <a:endParaRPr lang="de-CH" sz="1050" dirty="0"/>
          </a:p>
          <a:p>
            <a:pPr marL="789750" lvl="5" indent="-285750">
              <a:buFont typeface="Arial" panose="020B0604020202020204" pitchFamily="34" charset="0"/>
              <a:buChar char="•"/>
            </a:pPr>
            <a:r>
              <a:rPr lang="en-US" sz="900" dirty="0"/>
              <a:t>However, we have to watch out for overfitting (in the algorithm below or in code we can set the optimal approx. prec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100" b="1" dirty="0"/>
              <a:t>Image </a:t>
            </a:r>
            <a:r>
              <a:rPr lang="de-CH" sz="1100" b="1" dirty="0" err="1"/>
              <a:t>data</a:t>
            </a:r>
            <a:r>
              <a:rPr lang="de-CH" sz="1100" b="1" dirty="0"/>
              <a:t> 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 err="1"/>
              <a:t>Complex</a:t>
            </a:r>
            <a:r>
              <a:rPr lang="de-CH" sz="1050" dirty="0"/>
              <a:t> but </a:t>
            </a:r>
            <a:r>
              <a:rPr lang="de-CH" sz="1050" dirty="0" err="1"/>
              <a:t>can</a:t>
            </a:r>
            <a:r>
              <a:rPr lang="de-CH" sz="1050" dirty="0"/>
              <a:t> </a:t>
            </a:r>
            <a:r>
              <a:rPr lang="de-CH" sz="1050" dirty="0" err="1"/>
              <a:t>be</a:t>
            </a:r>
            <a:r>
              <a:rPr lang="de-CH" sz="1050" dirty="0"/>
              <a:t> </a:t>
            </a:r>
            <a:r>
              <a:rPr lang="de-CH" sz="1050" dirty="0" err="1"/>
              <a:t>captured</a:t>
            </a:r>
            <a:r>
              <a:rPr lang="de-CH" sz="1050" dirty="0"/>
              <a:t> </a:t>
            </a:r>
            <a:r>
              <a:rPr lang="de-CH" sz="1050" dirty="0" err="1"/>
              <a:t>with</a:t>
            </a:r>
            <a:r>
              <a:rPr lang="de-CH" sz="1050" dirty="0"/>
              <a:t> simpler feature </a:t>
            </a:r>
            <a:r>
              <a:rPr lang="de-CH" sz="1050" dirty="0" err="1"/>
              <a:t>maps</a:t>
            </a:r>
            <a:r>
              <a:rPr lang="de-CH" sz="1050" dirty="0"/>
              <a:t> (</a:t>
            </a:r>
            <a:r>
              <a:rPr lang="de-CH" sz="1050" dirty="0" err="1"/>
              <a:t>edges</a:t>
            </a:r>
            <a:r>
              <a:rPr lang="de-CH" sz="1050" dirty="0"/>
              <a:t>, </a:t>
            </a:r>
            <a:r>
              <a:rPr lang="de-CH" sz="1050" dirty="0" err="1"/>
              <a:t>shapes</a:t>
            </a:r>
            <a:r>
              <a:rPr lang="de-CH" sz="1050" dirty="0"/>
              <a:t> etc.)</a:t>
            </a:r>
          </a:p>
          <a:p>
            <a:pPr marL="789750" lvl="5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900" dirty="0"/>
              <a:t>This </a:t>
            </a:r>
            <a:r>
              <a:rPr lang="de-CH" sz="900" dirty="0" err="1"/>
              <a:t>can</a:t>
            </a:r>
            <a:r>
              <a:rPr lang="de-CH" sz="900" dirty="0"/>
              <a:t> </a:t>
            </a:r>
            <a:r>
              <a:rPr lang="de-CH" sz="900" dirty="0" err="1"/>
              <a:t>be</a:t>
            </a:r>
            <a:r>
              <a:rPr lang="de-CH" sz="900" dirty="0"/>
              <a:t> </a:t>
            </a:r>
            <a:r>
              <a:rPr lang="de-CH" sz="900" dirty="0" err="1"/>
              <a:t>tested</a:t>
            </a:r>
            <a:r>
              <a:rPr lang="de-CH" sz="900" dirty="0"/>
              <a:t> </a:t>
            </a:r>
            <a:r>
              <a:rPr lang="de-CH" sz="900" dirty="0" err="1"/>
              <a:t>by</a:t>
            </a:r>
            <a:r>
              <a:rPr lang="de-CH" sz="900" dirty="0"/>
              <a:t> </a:t>
            </a:r>
            <a:r>
              <a:rPr lang="de-CH" sz="900" dirty="0" err="1"/>
              <a:t>using</a:t>
            </a:r>
            <a:r>
              <a:rPr lang="de-CH" sz="900" dirty="0"/>
              <a:t> a </a:t>
            </a:r>
            <a:r>
              <a:rPr lang="de-CH" sz="900" dirty="0" err="1"/>
              <a:t>harder</a:t>
            </a:r>
            <a:r>
              <a:rPr lang="de-CH" sz="900" dirty="0"/>
              <a:t> </a:t>
            </a:r>
            <a:r>
              <a:rPr lang="de-CH" sz="900" dirty="0" err="1"/>
              <a:t>image</a:t>
            </a:r>
            <a:r>
              <a:rPr lang="de-CH" sz="900" dirty="0"/>
              <a:t> </a:t>
            </a:r>
            <a:r>
              <a:rPr lang="de-CH" sz="900" dirty="0" err="1"/>
              <a:t>classification</a:t>
            </a:r>
            <a:r>
              <a:rPr lang="de-CH" sz="900" dirty="0"/>
              <a:t> </a:t>
            </a:r>
            <a:r>
              <a:rPr lang="de-CH" sz="900" dirty="0" err="1"/>
              <a:t>task</a:t>
            </a:r>
            <a:endParaRPr lang="de-CH" sz="900" dirty="0"/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/>
              <a:t>More </a:t>
            </a:r>
            <a:r>
              <a:rPr lang="de-CH" sz="1050" dirty="0" err="1"/>
              <a:t>encoding</a:t>
            </a:r>
            <a:r>
              <a:rPr lang="de-CH" sz="1050" dirty="0"/>
              <a:t> </a:t>
            </a:r>
            <a:r>
              <a:rPr lang="de-CH" sz="1050" dirty="0" err="1"/>
              <a:t>reps</a:t>
            </a:r>
            <a:r>
              <a:rPr lang="de-CH" sz="1050" dirty="0"/>
              <a:t> </a:t>
            </a:r>
            <a:r>
              <a:rPr lang="de-CH" sz="1050" dirty="0" err="1"/>
              <a:t>doesn’t</a:t>
            </a:r>
            <a:r>
              <a:rPr lang="de-CH" sz="1050" dirty="0"/>
              <a:t> </a:t>
            </a:r>
            <a:r>
              <a:rPr lang="de-CH" sz="1050" dirty="0" err="1"/>
              <a:t>necessarily</a:t>
            </a:r>
            <a:r>
              <a:rPr lang="de-CH" sz="1050" dirty="0"/>
              <a:t> </a:t>
            </a:r>
            <a:r>
              <a:rPr lang="de-CH" sz="1050" dirty="0" err="1"/>
              <a:t>improve</a:t>
            </a:r>
            <a:r>
              <a:rPr lang="de-CH" sz="1050" dirty="0"/>
              <a:t> </a:t>
            </a:r>
            <a:r>
              <a:rPr lang="de-CH" sz="1050" dirty="0" err="1"/>
              <a:t>performance</a:t>
            </a:r>
            <a:r>
              <a:rPr lang="de-CH" sz="1050" dirty="0"/>
              <a:t> (</a:t>
            </a:r>
            <a:r>
              <a:rPr lang="de-CH" sz="1050" dirty="0" err="1"/>
              <a:t>features</a:t>
            </a:r>
            <a:r>
              <a:rPr lang="de-CH" sz="1050" dirty="0"/>
              <a:t> </a:t>
            </a:r>
            <a:r>
              <a:rPr lang="de-CH" sz="1050" dirty="0" err="1"/>
              <a:t>already</a:t>
            </a:r>
            <a:r>
              <a:rPr lang="de-CH" sz="1050" dirty="0"/>
              <a:t> </a:t>
            </a:r>
            <a:r>
              <a:rPr lang="de-CH" sz="1050" dirty="0" err="1"/>
              <a:t>well</a:t>
            </a:r>
            <a:r>
              <a:rPr lang="de-CH" sz="1050" dirty="0"/>
              <a:t> </a:t>
            </a:r>
            <a:r>
              <a:rPr lang="de-CH" sz="1050" dirty="0" err="1"/>
              <a:t>represented</a:t>
            </a:r>
            <a:r>
              <a:rPr lang="de-CH" sz="1050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/>
              <a:t>Can fit </a:t>
            </a:r>
            <a:r>
              <a:rPr lang="de-CH" sz="1050" dirty="0" err="1"/>
              <a:t>well</a:t>
            </a:r>
            <a:r>
              <a:rPr lang="de-CH" sz="1050" dirty="0"/>
              <a:t> </a:t>
            </a:r>
            <a:r>
              <a:rPr lang="de-CH" sz="1050" dirty="0" err="1"/>
              <a:t>for</a:t>
            </a:r>
            <a:r>
              <a:rPr lang="de-CH" sz="1050" dirty="0"/>
              <a:t> </a:t>
            </a:r>
            <a:r>
              <a:rPr lang="de-CH" sz="1050" dirty="0" err="1"/>
              <a:t>lowerbound</a:t>
            </a:r>
            <a:r>
              <a:rPr lang="de-CH" sz="1050" dirty="0"/>
              <a:t> </a:t>
            </a:r>
            <a:r>
              <a:rPr lang="de-CH" sz="1050" dirty="0" err="1"/>
              <a:t>analysis</a:t>
            </a:r>
            <a:r>
              <a:rPr lang="de-CH" sz="1050" dirty="0"/>
              <a:t> </a:t>
            </a:r>
            <a:r>
              <a:rPr lang="de-CH" sz="1050" dirty="0" err="1"/>
              <a:t>because</a:t>
            </a:r>
            <a:r>
              <a:rPr lang="de-CH" sz="1050" dirty="0"/>
              <a:t> </a:t>
            </a:r>
            <a:r>
              <a:rPr lang="de-CH" sz="1050" dirty="0" err="1"/>
              <a:t>images</a:t>
            </a:r>
            <a:r>
              <a:rPr lang="de-CH" sz="1050" dirty="0"/>
              <a:t> </a:t>
            </a:r>
            <a:r>
              <a:rPr lang="de-CH" sz="1050" dirty="0" err="1"/>
              <a:t>often</a:t>
            </a:r>
            <a:r>
              <a:rPr lang="de-CH" sz="1050" dirty="0"/>
              <a:t> </a:t>
            </a:r>
            <a:r>
              <a:rPr lang="de-CH" sz="1050" dirty="0" err="1"/>
              <a:t>have</a:t>
            </a:r>
            <a:r>
              <a:rPr lang="de-CH" sz="1050" dirty="0"/>
              <a:t> </a:t>
            </a:r>
            <a:r>
              <a:rPr lang="de-CH" sz="1050" dirty="0" err="1"/>
              <a:t>spatial</a:t>
            </a:r>
            <a:r>
              <a:rPr lang="de-CH" sz="1050" dirty="0"/>
              <a:t> </a:t>
            </a:r>
            <a:r>
              <a:rPr lang="de-CH" sz="1050" dirty="0" err="1"/>
              <a:t>correlations</a:t>
            </a:r>
            <a:r>
              <a:rPr lang="de-CH" sz="1050" dirty="0"/>
              <a:t> (</a:t>
            </a:r>
            <a:r>
              <a:rPr lang="de-CH" sz="1050" dirty="0" err="1"/>
              <a:t>for</a:t>
            </a:r>
            <a:r>
              <a:rPr lang="de-CH" sz="1050" dirty="0"/>
              <a:t> </a:t>
            </a:r>
            <a:r>
              <a:rPr lang="de-CH" sz="1050" dirty="0" err="1"/>
              <a:t>example</a:t>
            </a:r>
            <a:r>
              <a:rPr lang="de-CH" sz="1050" dirty="0"/>
              <a:t> </a:t>
            </a:r>
            <a:r>
              <a:rPr lang="de-CH" sz="1050" dirty="0" err="1"/>
              <a:t>neighbour</a:t>
            </a:r>
            <a:r>
              <a:rPr lang="de-CH" sz="1050" dirty="0"/>
              <a:t> </a:t>
            </a:r>
            <a:r>
              <a:rPr lang="de-CH" sz="1050" dirty="0" err="1"/>
              <a:t>pixels</a:t>
            </a:r>
            <a:r>
              <a:rPr lang="de-CH" sz="1050" dirty="0"/>
              <a:t> </a:t>
            </a:r>
            <a:r>
              <a:rPr lang="de-CH" sz="1050" dirty="0" err="1"/>
              <a:t>are</a:t>
            </a:r>
            <a:r>
              <a:rPr lang="de-CH" sz="1050" dirty="0"/>
              <a:t> </a:t>
            </a:r>
            <a:r>
              <a:rPr lang="de-CH" sz="1050" dirty="0" err="1"/>
              <a:t>similar</a:t>
            </a:r>
            <a:r>
              <a:rPr lang="de-CH" sz="1050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 err="1"/>
              <a:t>When</a:t>
            </a:r>
            <a:r>
              <a:rPr lang="de-CH" sz="1050" dirty="0"/>
              <a:t> </a:t>
            </a:r>
            <a:r>
              <a:rPr lang="de-CH" sz="1050" dirty="0" err="1"/>
              <a:t>images</a:t>
            </a:r>
            <a:r>
              <a:rPr lang="de-CH" sz="1050" dirty="0"/>
              <a:t> </a:t>
            </a:r>
            <a:r>
              <a:rPr lang="de-CH" sz="1050" dirty="0" err="1"/>
              <a:t>have</a:t>
            </a:r>
            <a:r>
              <a:rPr lang="de-CH" sz="1050" dirty="0"/>
              <a:t> smooth </a:t>
            </a:r>
            <a:r>
              <a:rPr lang="de-CH" sz="1050" dirty="0" err="1"/>
              <a:t>transitions</a:t>
            </a:r>
            <a:r>
              <a:rPr lang="de-CH" sz="1050" dirty="0"/>
              <a:t> </a:t>
            </a:r>
            <a:r>
              <a:rPr lang="de-CH" sz="1050" dirty="0" err="1"/>
              <a:t>the</a:t>
            </a:r>
            <a:r>
              <a:rPr lang="de-CH" sz="1050" dirty="0"/>
              <a:t> </a:t>
            </a:r>
            <a:r>
              <a:rPr lang="de-CH" sz="1050" dirty="0" err="1"/>
              <a:t>fourier</a:t>
            </a:r>
            <a:r>
              <a:rPr lang="de-CH" sz="1050" dirty="0"/>
              <a:t> rank (so also </a:t>
            </a:r>
            <a:r>
              <a:rPr lang="de-CH" sz="1050" dirty="0" err="1"/>
              <a:t>the</a:t>
            </a:r>
            <a:r>
              <a:rPr lang="de-CH" sz="1050" dirty="0"/>
              <a:t> </a:t>
            </a:r>
            <a:r>
              <a:rPr lang="de-CH" sz="1050" dirty="0" err="1"/>
              <a:t>redundancy</a:t>
            </a:r>
            <a:r>
              <a:rPr lang="de-CH" sz="1050" dirty="0"/>
              <a:t>) </a:t>
            </a:r>
            <a:r>
              <a:rPr lang="de-CH" sz="1050" dirty="0" err="1"/>
              <a:t>can</a:t>
            </a:r>
            <a:r>
              <a:rPr lang="de-CH" sz="1050" dirty="0"/>
              <a:t> </a:t>
            </a:r>
            <a:r>
              <a:rPr lang="de-CH" sz="1050" dirty="0" err="1"/>
              <a:t>be</a:t>
            </a:r>
            <a:r>
              <a:rPr lang="de-CH" sz="1050" dirty="0"/>
              <a:t> </a:t>
            </a:r>
            <a:r>
              <a:rPr lang="de-CH" sz="1050" dirty="0" err="1"/>
              <a:t>lowered</a:t>
            </a:r>
            <a:endParaRPr lang="de-CH" sz="105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100" b="1" dirty="0" err="1"/>
              <a:t>Tabular</a:t>
            </a:r>
            <a:r>
              <a:rPr lang="de-CH" sz="1100" b="1" dirty="0"/>
              <a:t> </a:t>
            </a:r>
            <a:r>
              <a:rPr lang="de-CH" sz="1100" b="1" dirty="0" err="1"/>
              <a:t>data</a:t>
            </a:r>
            <a:r>
              <a:rPr lang="de-CH" sz="1100" b="1" dirty="0"/>
              <a:t> 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 err="1"/>
              <a:t>No</a:t>
            </a:r>
            <a:r>
              <a:rPr lang="de-CH" sz="1050" dirty="0"/>
              <a:t> temporal (non </a:t>
            </a:r>
            <a:r>
              <a:rPr lang="de-CH" sz="1050" dirty="0" err="1"/>
              <a:t>seq</a:t>
            </a:r>
            <a:r>
              <a:rPr lang="de-CH" sz="1050" dirty="0"/>
              <a:t>) </a:t>
            </a:r>
            <a:r>
              <a:rPr lang="de-CH" sz="1050" dirty="0" err="1"/>
              <a:t>dependencies</a:t>
            </a:r>
            <a:r>
              <a:rPr lang="de-CH" sz="1050" dirty="0"/>
              <a:t> -&gt; Repetition </a:t>
            </a:r>
            <a:r>
              <a:rPr lang="de-CH" sz="1050" dirty="0" err="1"/>
              <a:t>has</a:t>
            </a:r>
            <a:r>
              <a:rPr lang="de-CH" sz="1050" dirty="0"/>
              <a:t> </a:t>
            </a:r>
            <a:r>
              <a:rPr lang="de-CH" sz="1050" dirty="0" err="1"/>
              <a:t>less</a:t>
            </a:r>
            <a:r>
              <a:rPr lang="de-CH" sz="1050" dirty="0"/>
              <a:t> </a:t>
            </a:r>
            <a:r>
              <a:rPr lang="de-CH" sz="1050" dirty="0" err="1"/>
              <a:t>impact</a:t>
            </a:r>
            <a:r>
              <a:rPr lang="de-CH" sz="1050" dirty="0"/>
              <a:t> (Simpler </a:t>
            </a:r>
            <a:r>
              <a:rPr lang="de-CH" sz="1050" dirty="0" err="1"/>
              <a:t>models</a:t>
            </a:r>
            <a:r>
              <a:rPr lang="de-CH" sz="1050" dirty="0"/>
              <a:t> </a:t>
            </a:r>
            <a:r>
              <a:rPr lang="de-CH" sz="1050" dirty="0" err="1"/>
              <a:t>often</a:t>
            </a:r>
            <a:r>
              <a:rPr lang="de-CH" sz="1050" dirty="0"/>
              <a:t> </a:t>
            </a:r>
            <a:r>
              <a:rPr lang="de-CH" sz="1050" dirty="0" err="1"/>
              <a:t>suffice</a:t>
            </a:r>
            <a:r>
              <a:rPr lang="de-CH" sz="1050" dirty="0"/>
              <a:t>)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 err="1"/>
              <a:t>Doesn’t</a:t>
            </a:r>
            <a:r>
              <a:rPr lang="de-CH" sz="1050" dirty="0"/>
              <a:t> </a:t>
            </a:r>
            <a:r>
              <a:rPr lang="de-CH" sz="1050" dirty="0" err="1"/>
              <a:t>have</a:t>
            </a:r>
            <a:r>
              <a:rPr lang="de-CH" sz="1050" dirty="0"/>
              <a:t> </a:t>
            </a:r>
            <a:r>
              <a:rPr lang="de-CH" sz="1050" dirty="0" err="1"/>
              <a:t>the</a:t>
            </a:r>
            <a:r>
              <a:rPr lang="de-CH" sz="1050" dirty="0"/>
              <a:t> same type </a:t>
            </a:r>
            <a:r>
              <a:rPr lang="de-CH" sz="1050" dirty="0" err="1"/>
              <a:t>of</a:t>
            </a:r>
            <a:r>
              <a:rPr lang="de-CH" sz="1050" dirty="0"/>
              <a:t> </a:t>
            </a:r>
            <a:r>
              <a:rPr lang="de-CH" sz="1050" dirty="0" err="1"/>
              <a:t>targetfunction</a:t>
            </a:r>
            <a:r>
              <a:rPr lang="de-CH" sz="1050" dirty="0"/>
              <a:t> (</a:t>
            </a:r>
            <a:r>
              <a:rPr lang="de-CH" sz="1050" dirty="0" err="1"/>
              <a:t>model</a:t>
            </a:r>
            <a:r>
              <a:rPr lang="de-CH" sz="1050" dirty="0"/>
              <a:t> </a:t>
            </a:r>
            <a:r>
              <a:rPr lang="de-CH" sz="1050" dirty="0" err="1"/>
              <a:t>only</a:t>
            </a:r>
            <a:r>
              <a:rPr lang="de-CH" sz="1050" dirty="0"/>
              <a:t> </a:t>
            </a:r>
            <a:r>
              <a:rPr lang="de-CH" sz="1050" dirty="0" err="1"/>
              <a:t>needs</a:t>
            </a:r>
            <a:r>
              <a:rPr lang="de-CH" sz="1050" dirty="0"/>
              <a:t> </a:t>
            </a:r>
            <a:r>
              <a:rPr lang="de-CH" sz="1050" dirty="0" err="1"/>
              <a:t>to</a:t>
            </a:r>
            <a:r>
              <a:rPr lang="de-CH" sz="1050" dirty="0"/>
              <a:t> </a:t>
            </a:r>
            <a:r>
              <a:rPr lang="de-CH" sz="1050" dirty="0" err="1"/>
              <a:t>understand</a:t>
            </a:r>
            <a:r>
              <a:rPr lang="de-CH" sz="1050" dirty="0"/>
              <a:t> </a:t>
            </a:r>
            <a:r>
              <a:rPr lang="de-CH" sz="1050" dirty="0" err="1"/>
              <a:t>how</a:t>
            </a:r>
            <a:r>
              <a:rPr lang="de-CH" sz="1050" dirty="0"/>
              <a:t> </a:t>
            </a:r>
            <a:r>
              <a:rPr lang="de-CH" sz="1050" dirty="0" err="1"/>
              <a:t>the</a:t>
            </a:r>
            <a:r>
              <a:rPr lang="de-CH" sz="1050" dirty="0"/>
              <a:t> </a:t>
            </a:r>
            <a:r>
              <a:rPr lang="de-CH" sz="1050" dirty="0" err="1"/>
              <a:t>independent</a:t>
            </a:r>
            <a:r>
              <a:rPr lang="de-CH" sz="1050" dirty="0"/>
              <a:t> </a:t>
            </a:r>
            <a:r>
              <a:rPr lang="de-CH" sz="1050" dirty="0" err="1"/>
              <a:t>features</a:t>
            </a:r>
            <a:r>
              <a:rPr lang="de-CH" sz="1050" dirty="0"/>
              <a:t> </a:t>
            </a:r>
            <a:r>
              <a:rPr lang="de-CH" sz="1050" dirty="0" err="1"/>
              <a:t>relate</a:t>
            </a:r>
            <a:r>
              <a:rPr lang="de-CH" sz="1050" dirty="0"/>
              <a:t> </a:t>
            </a:r>
            <a:r>
              <a:rPr lang="de-CH" sz="1050" dirty="0" err="1"/>
              <a:t>to</a:t>
            </a:r>
            <a:r>
              <a:rPr lang="de-CH" sz="1050" dirty="0"/>
              <a:t> </a:t>
            </a:r>
            <a:r>
              <a:rPr lang="de-CH" sz="1050" dirty="0" err="1"/>
              <a:t>the</a:t>
            </a:r>
            <a:r>
              <a:rPr lang="de-CH" sz="1050" dirty="0"/>
              <a:t> </a:t>
            </a:r>
            <a:r>
              <a:rPr lang="de-CH" sz="1050" dirty="0" err="1"/>
              <a:t>target</a:t>
            </a:r>
            <a:r>
              <a:rPr lang="de-CH" sz="1050" dirty="0"/>
              <a:t> </a:t>
            </a:r>
            <a:r>
              <a:rPr lang="de-CH" sz="1050" dirty="0" err="1"/>
              <a:t>label</a:t>
            </a:r>
            <a:r>
              <a:rPr lang="de-CH" sz="105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100" dirty="0" err="1"/>
              <a:t>Finding</a:t>
            </a:r>
            <a:r>
              <a:rPr lang="de-CH" sz="1100" dirty="0"/>
              <a:t> an optimal </a:t>
            </a:r>
            <a:r>
              <a:rPr lang="de-CH" sz="1100" dirty="0" err="1"/>
              <a:t>data</a:t>
            </a:r>
            <a:r>
              <a:rPr lang="de-CH" sz="1100" dirty="0"/>
              <a:t> </a:t>
            </a:r>
            <a:r>
              <a:rPr lang="de-CH" sz="1100" dirty="0" err="1"/>
              <a:t>encoding</a:t>
            </a:r>
            <a:r>
              <a:rPr lang="de-CH" sz="1100" dirty="0"/>
              <a:t> </a:t>
            </a:r>
            <a:r>
              <a:rPr lang="de-CH" sz="1100" dirty="0" err="1"/>
              <a:t>repetition</a:t>
            </a:r>
            <a:r>
              <a:rPr lang="de-CH" sz="1100" dirty="0"/>
              <a:t> </a:t>
            </a:r>
            <a:r>
              <a:rPr lang="de-CH" sz="1100" dirty="0" err="1"/>
              <a:t>algorithm</a:t>
            </a:r>
            <a:r>
              <a:rPr lang="de-CH" sz="1100" dirty="0"/>
              <a:t>: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/>
              <a:t>Intuitiv </a:t>
            </a:r>
            <a:r>
              <a:rPr lang="de-CH" sz="1050" dirty="0" err="1"/>
              <a:t>approach</a:t>
            </a:r>
            <a:r>
              <a:rPr lang="de-CH" sz="1050" dirty="0"/>
              <a:t>: </a:t>
            </a:r>
            <a:r>
              <a:rPr lang="de-CH" sz="1050" dirty="0" err="1"/>
              <a:t>Trial-and-error</a:t>
            </a:r>
            <a:r>
              <a:rPr lang="de-CH" sz="1050" dirty="0"/>
              <a:t> </a:t>
            </a:r>
            <a:r>
              <a:rPr lang="de-CH" sz="1050" dirty="0" err="1"/>
              <a:t>with</a:t>
            </a:r>
            <a:r>
              <a:rPr lang="de-CH" sz="1050" dirty="0"/>
              <a:t> </a:t>
            </a:r>
            <a:r>
              <a:rPr lang="de-CH" sz="1050" dirty="0" err="1"/>
              <a:t>repetition</a:t>
            </a:r>
            <a:r>
              <a:rPr lang="de-CH" sz="1050" dirty="0"/>
              <a:t> </a:t>
            </a:r>
            <a:r>
              <a:rPr lang="de-CH" sz="1050" dirty="0" err="1"/>
              <a:t>nums</a:t>
            </a:r>
            <a:r>
              <a:rPr lang="de-CH" sz="1050" dirty="0"/>
              <a:t> </a:t>
            </a:r>
            <a:r>
              <a:rPr lang="de-CH" sz="1050" dirty="0" err="1"/>
              <a:t>from</a:t>
            </a:r>
            <a:r>
              <a:rPr lang="de-CH" sz="1050" dirty="0"/>
              <a:t> 1-n and </a:t>
            </a:r>
            <a:r>
              <a:rPr lang="de-CH" sz="1050" dirty="0" err="1"/>
              <a:t>take</a:t>
            </a:r>
            <a:r>
              <a:rPr lang="de-CH" sz="1050" dirty="0"/>
              <a:t> </a:t>
            </a:r>
            <a:r>
              <a:rPr lang="de-CH" sz="1050" dirty="0" err="1"/>
              <a:t>with</a:t>
            </a:r>
            <a:r>
              <a:rPr lang="de-CH" sz="1050" dirty="0"/>
              <a:t> </a:t>
            </a:r>
            <a:r>
              <a:rPr lang="de-CH" sz="1050" dirty="0" err="1"/>
              <a:t>best</a:t>
            </a:r>
            <a:r>
              <a:rPr lang="de-CH" sz="1050" dirty="0"/>
              <a:t> score</a:t>
            </a:r>
          </a:p>
          <a:p>
            <a:pPr marL="537750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dirty="0" err="1"/>
              <a:t>Lowerbound</a:t>
            </a:r>
            <a:r>
              <a:rPr lang="de-CH" sz="1050" dirty="0"/>
              <a:t> </a:t>
            </a:r>
            <a:r>
              <a:rPr lang="de-CH" sz="1050" dirty="0" err="1"/>
              <a:t>algorithm</a:t>
            </a:r>
            <a:r>
              <a:rPr lang="de-CH" sz="1050" dirty="0"/>
              <a:t> </a:t>
            </a:r>
            <a:r>
              <a:rPr lang="de-CH" sz="1050" dirty="0" err="1"/>
              <a:t>for</a:t>
            </a:r>
            <a:r>
              <a:rPr lang="de-CH" sz="1050" dirty="0"/>
              <a:t> time </a:t>
            </a:r>
            <a:r>
              <a:rPr lang="de-CH" sz="1050" dirty="0" err="1"/>
              <a:t>series</a:t>
            </a:r>
            <a:r>
              <a:rPr lang="de-CH" sz="1050" dirty="0"/>
              <a:t> </a:t>
            </a:r>
            <a:r>
              <a:rPr lang="de-CH" sz="1050" dirty="0" err="1"/>
              <a:t>based</a:t>
            </a:r>
            <a:r>
              <a:rPr lang="de-CH" sz="1050" dirty="0"/>
              <a:t> on FFT </a:t>
            </a:r>
            <a:r>
              <a:rPr lang="de-CH" sz="1050" dirty="0" err="1"/>
              <a:t>to</a:t>
            </a:r>
            <a:r>
              <a:rPr lang="de-CH" sz="1050" dirty="0"/>
              <a:t> </a:t>
            </a:r>
            <a:r>
              <a:rPr lang="de-CH" sz="1050" dirty="0" err="1"/>
              <a:t>approximate</a:t>
            </a:r>
            <a:r>
              <a:rPr lang="de-CH" sz="1050" dirty="0"/>
              <a:t> </a:t>
            </a:r>
            <a:r>
              <a:rPr lang="de-CH" sz="1050" dirty="0" err="1"/>
              <a:t>target</a:t>
            </a:r>
            <a:r>
              <a:rPr lang="de-CH" sz="1050" dirty="0"/>
              <a:t> </a:t>
            </a:r>
            <a:r>
              <a:rPr lang="de-CH" sz="1050" dirty="0" err="1"/>
              <a:t>function</a:t>
            </a:r>
            <a:r>
              <a:rPr lang="de-CH" sz="1050" dirty="0"/>
              <a:t>:</a:t>
            </a:r>
          </a:p>
          <a:p>
            <a:r>
              <a:rPr lang="de-CH" sz="1100" dirty="0"/>
              <a:t>	</a:t>
            </a:r>
          </a:p>
          <a:p>
            <a:endParaRPr lang="de-CH" sz="1100" dirty="0"/>
          </a:p>
          <a:p>
            <a:endParaRPr lang="de-CH" sz="1100" dirty="0"/>
          </a:p>
          <a:p>
            <a:br>
              <a:rPr lang="en-US" sz="1100" b="0" i="0" dirty="0">
                <a:solidFill>
                  <a:srgbClr val="F0F6FC"/>
                </a:solidFill>
                <a:effectLst/>
                <a:latin typeface="-apple-system"/>
              </a:rPr>
            </a:br>
            <a:endParaRPr lang="de-CH" sz="1100" dirty="0"/>
          </a:p>
          <a:p>
            <a:endParaRPr lang="en-US" sz="11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DE7D6A1-959C-AE28-A17B-33F17C949F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869" y="3674252"/>
            <a:ext cx="2944332" cy="1227620"/>
          </a:xfrm>
          <a:prstGeom prst="rect">
            <a:avLst/>
          </a:prstGeom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8CB7476B-C695-6270-9466-6E4ED106DB93}"/>
              </a:ext>
            </a:extLst>
          </p:cNvPr>
          <p:cNvSpPr txBox="1">
            <a:spLocks/>
          </p:cNvSpPr>
          <p:nvPr/>
        </p:nvSpPr>
        <p:spPr>
          <a:xfrm>
            <a:off x="3915201" y="3814811"/>
            <a:ext cx="5158736" cy="28410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1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4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6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8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252000" algn="l" defTabSz="7416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Transforms the signal into the frequency domai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Computes the magnitude of each frequency compon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Normalizes and applies a threshold to filter out small frequencies (this controls the expressivity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Reconstructs an approximation of the original signal using only the significant frequency components (used for plotting)</a:t>
            </a:r>
          </a:p>
          <a:p>
            <a:endParaRPr lang="en-US" sz="10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Calculation taken from paper 1 and 2 of first slid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000" dirty="0"/>
              <a:t>For multi feature we can repeat the above steps over all features and make the Fourier transformation (this gives different repetition numbers for every feature, if we want a different accuracy (tolerance) for different features) </a:t>
            </a:r>
            <a:endParaRPr lang="de-CH" sz="1000" dirty="0"/>
          </a:p>
          <a:p>
            <a:r>
              <a:rPr lang="de-CH" sz="1200" dirty="0"/>
              <a:t>	</a:t>
            </a:r>
          </a:p>
          <a:p>
            <a:endParaRPr lang="de-CH" sz="1200" dirty="0"/>
          </a:p>
          <a:p>
            <a:endParaRPr lang="de-CH" sz="1200" dirty="0"/>
          </a:p>
          <a:p>
            <a:br>
              <a:rPr lang="en-US" sz="1200" dirty="0">
                <a:solidFill>
                  <a:srgbClr val="F0F6FC"/>
                </a:solidFill>
                <a:latin typeface="-apple-system"/>
              </a:rPr>
            </a:br>
            <a:endParaRPr lang="de-CH" sz="1200" dirty="0"/>
          </a:p>
          <a:p>
            <a:endParaRPr lang="en-US" sz="12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400E711-801E-30B6-14FE-8C04D0958A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869" y="4967176"/>
            <a:ext cx="2534331" cy="53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20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lXThFkr1xHpRVqICOMjaUFAAAAAAADAAAAAAADAAAAAwADAAAAAAD///////8DAAEA////////BAAAAAMAEAALNA6INYZaHkK1dZuRPFaM5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ElXThFkr1xHpRVqICOMjaUDRGF0YQAbAAAABExpbmtlZFNoYXBlRGF0YQAFAAAAAAACTmFtZQAZAAAATGlua2VkU2hhcGVzRGF0YVByb3BlcnR5ABBWZXJzaW9uAAAAAAAJTGFzdFdyaXRlAAvhsGB5AQAAAAEA/////50AnQAAAAVfaWQAEAAAAAQ0Dog1hloeQrV1m5E8VozlA0RhdGEAKgAAAAhQcmVzZW50YXRpb25TY2FubmVkRm9yTGlua2VkU2hhcGVzAAEAAk5hbWUAJAAAAExpbmtlZFNoYXBlUHJlc2VudGF0aW9uU2V0dGluZ3NEYXRhABBWZXJzaW9uAAAAAAAJTGFzdFdyaXRlACjhsGB5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Master ZHAW">
  <a:themeElements>
    <a:clrScheme name="ZHAW">
      <a:dk1>
        <a:sysClr val="windowText" lastClr="000000"/>
      </a:dk1>
      <a:lt1>
        <a:sysClr val="window" lastClr="FFFFFF"/>
      </a:lt1>
      <a:dk2>
        <a:srgbClr val="0064A6"/>
      </a:dk2>
      <a:lt2>
        <a:srgbClr val="0064A6"/>
      </a:lt2>
      <a:accent1>
        <a:srgbClr val="7FB2D4"/>
      </a:accent1>
      <a:accent2>
        <a:srgbClr val="D54E12"/>
      </a:accent2>
      <a:accent3>
        <a:srgbClr val="83B819"/>
      </a:accent3>
      <a:accent4>
        <a:srgbClr val="F0B600"/>
      </a:accent4>
      <a:accent5>
        <a:srgbClr val="5B9BD5"/>
      </a:accent5>
      <a:accent6>
        <a:srgbClr val="70AD47"/>
      </a:accent6>
      <a:hlink>
        <a:srgbClr val="6A205F"/>
      </a:hlink>
      <a:folHlink>
        <a:srgbClr val="EDDBAB"/>
      </a:folHlink>
    </a:clrScheme>
    <a:fontScheme name="ZHA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0"/>
          </a:spcBef>
          <a:spcAft>
            <a:spcPts val="600"/>
          </a:spcAft>
          <a:defRPr sz="16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91</Words>
  <Application>Microsoft Office PowerPoint</Application>
  <PresentationFormat>Benutzerdefiniert</PresentationFormat>
  <Paragraphs>205</Paragraphs>
  <Slides>10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-apple-system</vt:lpstr>
      <vt:lpstr>Aptos</vt:lpstr>
      <vt:lpstr>Arial</vt:lpstr>
      <vt:lpstr>Calibri</vt:lpstr>
      <vt:lpstr>Cambria Math</vt:lpstr>
      <vt:lpstr>Courier New</vt:lpstr>
      <vt:lpstr>Symbol</vt:lpstr>
      <vt:lpstr>Master ZHAW</vt:lpstr>
      <vt:lpstr>Optimal Number of Data Repetitions in Data Encoding Introduction &amp; Motivation</vt:lpstr>
      <vt:lpstr>Optimal Number of Data Repetitions in Data Encoding Current State of the Field</vt:lpstr>
      <vt:lpstr>Optimal Number of Data Repetitions in Data Encoding Current State of the Field</vt:lpstr>
      <vt:lpstr>Optimal Number of Data Repetitions in Data Encoding Project Motivation &amp; Process</vt:lpstr>
      <vt:lpstr>Optimal Number of Data Repetitions in Data Encoding Quantum Circuit Architectures Overview</vt:lpstr>
      <vt:lpstr>Optimal Number of Data Repetitions in Data Encoding Dataset 1: NASDAQ Close Price Prediction</vt:lpstr>
      <vt:lpstr>Optimal Number of Data Repetitions in Data Encoding Dataset 2: MNIST Digit Binary Classification</vt:lpstr>
      <vt:lpstr>Optimal Number of Data Repetitions in Data Encoding Dataset 3: Wine quality</vt:lpstr>
      <vt:lpstr>Optimal Number of Data Repetitions in Data Encoding Results (Keyfindings) &amp; Generalizability</vt:lpstr>
      <vt:lpstr>Optimal Number of Data Repetitions in Data Encoding Challenges &amp; Reflection (Lessons Learned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Pietrzykowska | FolienWerke GmbH</dc:creator>
  <cp:lastModifiedBy>Luca Marceca</cp:lastModifiedBy>
  <cp:revision>262</cp:revision>
  <dcterms:created xsi:type="dcterms:W3CDTF">2021-04-15T11:21:03Z</dcterms:created>
  <dcterms:modified xsi:type="dcterms:W3CDTF">2024-12-31T17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0d9bad3-6dac-4e9a-89a3-89f3b8d247b2_Enabled">
    <vt:lpwstr>true</vt:lpwstr>
  </property>
  <property fmtid="{D5CDD505-2E9C-101B-9397-08002B2CF9AE}" pid="3" name="MSIP_Label_10d9bad3-6dac-4e9a-89a3-89f3b8d247b2_SetDate">
    <vt:lpwstr>2021-04-26T06:49:37Z</vt:lpwstr>
  </property>
  <property fmtid="{D5CDD505-2E9C-101B-9397-08002B2CF9AE}" pid="4" name="MSIP_Label_10d9bad3-6dac-4e9a-89a3-89f3b8d247b2_Method">
    <vt:lpwstr>Standard</vt:lpwstr>
  </property>
  <property fmtid="{D5CDD505-2E9C-101B-9397-08002B2CF9AE}" pid="5" name="MSIP_Label_10d9bad3-6dac-4e9a-89a3-89f3b8d247b2_Name">
    <vt:lpwstr>10d9bad3-6dac-4e9a-89a3-89f3b8d247b2</vt:lpwstr>
  </property>
  <property fmtid="{D5CDD505-2E9C-101B-9397-08002B2CF9AE}" pid="6" name="MSIP_Label_10d9bad3-6dac-4e9a-89a3-89f3b8d247b2_SiteId">
    <vt:lpwstr>5d1a9f9d-201f-4a10-b983-451cf65cbc1e</vt:lpwstr>
  </property>
  <property fmtid="{D5CDD505-2E9C-101B-9397-08002B2CF9AE}" pid="7" name="MSIP_Label_10d9bad3-6dac-4e9a-89a3-89f3b8d247b2_ActionId">
    <vt:lpwstr>66cb1a0d-4a27-4f6d-8075-b2067aefda99</vt:lpwstr>
  </property>
  <property fmtid="{D5CDD505-2E9C-101B-9397-08002B2CF9AE}" pid="8" name="MSIP_Label_10d9bad3-6dac-4e9a-89a3-89f3b8d247b2_ContentBits">
    <vt:lpwstr>0</vt:lpwstr>
  </property>
</Properties>
</file>